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0" r:id="rId1"/>
  </p:sldMasterIdLst>
  <p:notesMasterIdLst>
    <p:notesMasterId r:id="rId3"/>
  </p:notesMasterIdLst>
  <p:sldIdLst>
    <p:sldId id="379" r:id="rId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E267"/>
    <a:srgbClr val="4EC2C4"/>
    <a:srgbClr val="31415C"/>
    <a:srgbClr val="181F32"/>
    <a:srgbClr val="6E8AA6"/>
    <a:srgbClr val="719B93"/>
    <a:srgbClr val="F5F5F5"/>
    <a:srgbClr val="9AC3C2"/>
    <a:srgbClr val="C1C1C1"/>
    <a:srgbClr val="DB73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26" autoAdjust="0"/>
    <p:restoredTop sz="94268" autoAdjust="0"/>
  </p:normalViewPr>
  <p:slideViewPr>
    <p:cSldViewPr snapToGrid="0" snapToObjects="1">
      <p:cViewPr varScale="1">
        <p:scale>
          <a:sx n="114" d="100"/>
          <a:sy n="114" d="100"/>
        </p:scale>
        <p:origin x="1688" y="17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4" Type="http://schemas.openxmlformats.org/officeDocument/2006/relationships/presProps" Target="presProps.xml"/><Relationship Id="rId5" Type="http://schemas.openxmlformats.org/officeDocument/2006/relationships/viewProps" Target="viewProps.xml"/><Relationship Id="rId6" Type="http://schemas.openxmlformats.org/officeDocument/2006/relationships/theme" Target="theme/theme1.xml"/><Relationship Id="rId7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D78E36-5B70-5940-8560-1BF261EA7BBC}" type="datetimeFigureOut">
              <a:rPr lang="en-US" smtClean="0"/>
              <a:t>5/24/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DC86DE-7AE0-8B4A-B8DC-AA63ECA443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6880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0"/>
          <p:cNvSpPr/>
          <p:nvPr userDrawn="1"/>
        </p:nvSpPr>
        <p:spPr>
          <a:xfrm>
            <a:off x="251520" y="6356350"/>
            <a:ext cx="792088" cy="3130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defTabSz="914309"/>
            <a:endParaRPr lang="de-DE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Rechteck 10"/>
          <p:cNvSpPr/>
          <p:nvPr userDrawn="1"/>
        </p:nvSpPr>
        <p:spPr>
          <a:xfrm>
            <a:off x="0" y="857232"/>
            <a:ext cx="9144000" cy="7143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defTabSz="914309"/>
            <a:endParaRPr lang="de-DE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85786" y="2130434"/>
            <a:ext cx="6457968" cy="147002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algn="l">
              <a:defRPr b="1"/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14338" y="3886200"/>
            <a:ext cx="6572296" cy="1185874"/>
          </a:xfrm>
        </p:spPr>
        <p:txBody>
          <a:bodyPr lIns="0">
            <a:noAutofit/>
          </a:bodyPr>
          <a:lstStyle>
            <a:lvl1pPr marL="0" indent="0" algn="l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7" name="Rechteck 6"/>
          <p:cNvSpPr/>
          <p:nvPr userDrawn="1"/>
        </p:nvSpPr>
        <p:spPr>
          <a:xfrm>
            <a:off x="8429652" y="6"/>
            <a:ext cx="216000" cy="5786455"/>
          </a:xfrm>
          <a:prstGeom prst="rect">
            <a:avLst/>
          </a:prstGeom>
          <a:gradFill>
            <a:gsLst>
              <a:gs pos="0">
                <a:srgbClr val="F0D48E"/>
              </a:gs>
              <a:gs pos="50000">
                <a:srgbClr val="F0D48E"/>
              </a:gs>
              <a:gs pos="100000">
                <a:srgbClr val="F2E098"/>
              </a:gs>
            </a:gsLst>
            <a:lin ang="5400000" scaled="0"/>
          </a:gra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defTabSz="914309"/>
            <a:endParaRPr lang="de-DE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Rechteck 8"/>
          <p:cNvSpPr/>
          <p:nvPr userDrawn="1"/>
        </p:nvSpPr>
        <p:spPr>
          <a:xfrm rot="16200000">
            <a:off x="3973462" y="2097065"/>
            <a:ext cx="216000" cy="8162925"/>
          </a:xfrm>
          <a:prstGeom prst="rect">
            <a:avLst/>
          </a:prstGeom>
          <a:gradFill>
            <a:gsLst>
              <a:gs pos="0">
                <a:srgbClr val="F0D48E"/>
              </a:gs>
              <a:gs pos="50000">
                <a:srgbClr val="F0D48E"/>
              </a:gs>
              <a:gs pos="100000">
                <a:srgbClr val="F2E098"/>
              </a:gs>
            </a:gsLst>
            <a:lin ang="5400000" scaled="0"/>
          </a:gra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defTabSz="914309"/>
            <a:endParaRPr lang="de-DE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Halbbogen 9"/>
          <p:cNvSpPr/>
          <p:nvPr userDrawn="1"/>
        </p:nvSpPr>
        <p:spPr>
          <a:xfrm rot="5400000">
            <a:off x="7646215" y="5286388"/>
            <a:ext cx="1000132" cy="1000132"/>
          </a:xfrm>
          <a:prstGeom prst="blockArc">
            <a:avLst>
              <a:gd name="adj1" fmla="val 16200000"/>
              <a:gd name="adj2" fmla="val 0"/>
              <a:gd name="adj3" fmla="val 21854"/>
            </a:avLst>
          </a:prstGeom>
          <a:solidFill>
            <a:srgbClr val="F2E0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defTabSz="914309"/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Datumsplatzhalter 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EE273B-FF76-4A0D-A928-E73E90B67189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05.1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765486-C6C5-4366-8315-39309B9EA72E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Rechteck 12"/>
          <p:cNvSpPr/>
          <p:nvPr userDrawn="1"/>
        </p:nvSpPr>
        <p:spPr>
          <a:xfrm rot="5400000">
            <a:off x="-55960" y="2808693"/>
            <a:ext cx="1470026" cy="113505"/>
          </a:xfrm>
          <a:prstGeom prst="rect">
            <a:avLst/>
          </a:prstGeom>
          <a:solidFill>
            <a:srgbClr val="F2E0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defTabSz="914309"/>
            <a:endParaRPr lang="de-DE" u="sng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9" name="Picture 3" descr="C:\DAT\Unternehmen\Orga\Corporate Identity\Logo\Größen\Logo 120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562" y="303194"/>
            <a:ext cx="1817688" cy="5540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0420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097C5-A90D-42FC-85C1-537CD93AE1F7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05.1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765486-C6C5-4366-8315-39309B9EA72E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97969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47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47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C8DC2D-1742-4E5F-906A-7032D3FC0069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05.1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765486-C6C5-4366-8315-39309B9EA72E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751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Clr>
                <a:srgbClr val="F0D48E"/>
              </a:buClr>
              <a:buFont typeface="Calibri" pitchFamily="34" charset="0"/>
              <a:buChar char="–"/>
              <a:defRPr b="0"/>
            </a:lvl2pPr>
            <a:lvl3pPr>
              <a:buClr>
                <a:srgbClr val="F0D48E"/>
              </a:buClr>
              <a:buFont typeface="Calibri" pitchFamily="34" charset="0"/>
              <a:buChar char="–"/>
              <a:defRPr/>
            </a:lvl3pPr>
            <a:lvl4pPr>
              <a:buClr>
                <a:srgbClr val="F0D48E"/>
              </a:buClr>
              <a:buFont typeface="Calibri" pitchFamily="34" charset="0"/>
              <a:buChar char="–"/>
              <a:defRPr/>
            </a:lvl4pPr>
            <a:lvl5pPr>
              <a:buClr>
                <a:srgbClr val="F0D48E"/>
              </a:buClr>
              <a:buFont typeface="Calibri" pitchFamily="34" charset="0"/>
              <a:buChar char="–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B5C6A-A561-48AF-A770-911960479381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05.1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765486-C6C5-4366-8315-39309B9EA72E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2971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20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4637AF-3067-4504-835A-CDBABF58139B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05.1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765486-C6C5-4366-8315-39309B9EA72E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830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F56889-DB35-4790-B77D-5FBB17AAE2F2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05.1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765486-C6C5-4366-8315-39309B9EA72E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906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B4F6D-E89B-4E18-8216-E1F1AD4731A6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05.1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765486-C6C5-4366-8315-39309B9EA72E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3653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C3FDA-AF2C-4AA1-8B4D-5DA2CC5C2BF9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05.1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765486-C6C5-4366-8315-39309B9EA72E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57121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749B5A-06EF-46F1-BA94-0811EA85BA4A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05.1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765486-C6C5-4366-8315-39309B9EA72E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1487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1" y="273059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5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4" indent="0">
              <a:buNone/>
              <a:defRPr sz="1200"/>
            </a:lvl2pPr>
            <a:lvl3pPr marL="914309" indent="0">
              <a:buNone/>
              <a:defRPr sz="1000"/>
            </a:lvl3pPr>
            <a:lvl4pPr marL="1371463" indent="0">
              <a:buNone/>
              <a:defRPr sz="900"/>
            </a:lvl4pPr>
            <a:lvl5pPr marL="1828617" indent="0">
              <a:buNone/>
              <a:defRPr sz="900"/>
            </a:lvl5pPr>
            <a:lvl6pPr marL="2285771" indent="0">
              <a:buNone/>
              <a:defRPr sz="900"/>
            </a:lvl6pPr>
            <a:lvl7pPr marL="2742926" indent="0">
              <a:buNone/>
              <a:defRPr sz="900"/>
            </a:lvl7pPr>
            <a:lvl8pPr marL="3200080" indent="0">
              <a:buNone/>
              <a:defRPr sz="900"/>
            </a:lvl8pPr>
            <a:lvl9pPr marL="365723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AF303-FE5B-4E9F-9122-299BC2BDF167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05.1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765486-C6C5-4366-8315-39309B9EA72E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15328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4" indent="0">
              <a:buNone/>
              <a:defRPr sz="2800"/>
            </a:lvl2pPr>
            <a:lvl3pPr marL="914309" indent="0">
              <a:buNone/>
              <a:defRPr sz="2400"/>
            </a:lvl3pPr>
            <a:lvl4pPr marL="1371463" indent="0">
              <a:buNone/>
              <a:defRPr sz="2000"/>
            </a:lvl4pPr>
            <a:lvl5pPr marL="1828617" indent="0">
              <a:buNone/>
              <a:defRPr sz="2000"/>
            </a:lvl5pPr>
            <a:lvl6pPr marL="2285771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4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4" indent="0">
              <a:buNone/>
              <a:defRPr sz="1200"/>
            </a:lvl2pPr>
            <a:lvl3pPr marL="914309" indent="0">
              <a:buNone/>
              <a:defRPr sz="1000"/>
            </a:lvl3pPr>
            <a:lvl4pPr marL="1371463" indent="0">
              <a:buNone/>
              <a:defRPr sz="900"/>
            </a:lvl4pPr>
            <a:lvl5pPr marL="1828617" indent="0">
              <a:buNone/>
              <a:defRPr sz="900"/>
            </a:lvl5pPr>
            <a:lvl6pPr marL="2285771" indent="0">
              <a:buNone/>
              <a:defRPr sz="900"/>
            </a:lvl6pPr>
            <a:lvl7pPr marL="2742926" indent="0">
              <a:buNone/>
              <a:defRPr sz="900"/>
            </a:lvl7pPr>
            <a:lvl8pPr marL="3200080" indent="0">
              <a:buNone/>
              <a:defRPr sz="900"/>
            </a:lvl8pPr>
            <a:lvl9pPr marL="365723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68A70-81C5-451A-9DC2-40B67CE6BB5F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.05.1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765486-C6C5-4366-8315-39309B9EA72E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5643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115328" cy="796908"/>
          </a:xfrm>
          <a:prstGeom prst="rect">
            <a:avLst/>
          </a:prstGeom>
        </p:spPr>
        <p:txBody>
          <a:bodyPr vert="horz" lIns="91431" tIns="45715" rIns="91431" bIns="45715" rtlCol="0" anchor="ctr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115328" cy="4525963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1" y="6356359"/>
            <a:ext cx="2133600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09"/>
            <a:fld id="{4D4203E7-A4BF-4B7A-842F-6588EFF4A26C}" type="datetime1">
              <a:rPr lang="de-DE" smtClean="0">
                <a:solidFill>
                  <a:prstClr val="black">
                    <a:tint val="75000"/>
                  </a:prstClr>
                </a:solidFill>
                <a:latin typeface="Calibri"/>
                <a:cs typeface="Arial" charset="0"/>
              </a:rPr>
              <a:pPr defTabSz="914309"/>
              <a:t>24.05.16</a:t>
            </a:fld>
            <a:endParaRPr lang="de-DE">
              <a:solidFill>
                <a:prstClr val="black">
                  <a:tint val="75000"/>
                </a:prstClr>
              </a:solidFill>
              <a:latin typeface="Calibri"/>
              <a:cs typeface="Arial" charset="0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1" y="6356359"/>
            <a:ext cx="2895600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09"/>
            <a:endParaRPr lang="de-DE">
              <a:solidFill>
                <a:prstClr val="black">
                  <a:tint val="75000"/>
                </a:prstClr>
              </a:solidFill>
              <a:latin typeface="Calibri"/>
              <a:cs typeface="Arial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9"/>
            <a:ext cx="2019328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09"/>
            <a:fld id="{4C765486-C6C5-4366-8315-39309B9EA72E}" type="slidenum">
              <a:rPr lang="de-DE" smtClean="0">
                <a:solidFill>
                  <a:prstClr val="black">
                    <a:tint val="75000"/>
                  </a:prstClr>
                </a:solidFill>
                <a:latin typeface="Calibri"/>
                <a:cs typeface="Arial" charset="0"/>
              </a:rPr>
              <a:pPr defTabSz="914309"/>
              <a:t>‹#›</a:t>
            </a:fld>
            <a:endParaRPr lang="de-DE" dirty="0">
              <a:solidFill>
                <a:prstClr val="black">
                  <a:tint val="75000"/>
                </a:prstClr>
              </a:solidFill>
              <a:latin typeface="Calibri"/>
              <a:cs typeface="Arial" charset="0"/>
            </a:endParaRPr>
          </a:p>
        </p:txBody>
      </p:sp>
      <p:sp>
        <p:nvSpPr>
          <p:cNvPr id="7" name="Abgerundetes Rechteck 6"/>
          <p:cNvSpPr/>
          <p:nvPr/>
        </p:nvSpPr>
        <p:spPr>
          <a:xfrm rot="16200000">
            <a:off x="4179107" y="-3036122"/>
            <a:ext cx="214314" cy="8572528"/>
          </a:xfrm>
          <a:prstGeom prst="roundRect">
            <a:avLst>
              <a:gd name="adj" fmla="val 28889"/>
            </a:avLst>
          </a:prstGeom>
          <a:gradFill>
            <a:gsLst>
              <a:gs pos="0">
                <a:srgbClr val="F0D48E"/>
              </a:gs>
              <a:gs pos="50000">
                <a:srgbClr val="F0D48E"/>
              </a:gs>
              <a:gs pos="100000">
                <a:srgbClr val="F2E098"/>
              </a:gs>
            </a:gsLst>
            <a:lin ang="5400000" scaled="0"/>
          </a:gra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defTabSz="914309"/>
            <a:endParaRPr lang="de-DE" u="sng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0" y="1142984"/>
            <a:ext cx="142876" cy="214314"/>
          </a:xfrm>
          <a:prstGeom prst="rect">
            <a:avLst/>
          </a:prstGeom>
          <a:solidFill>
            <a:srgbClr val="F0D4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defTabSz="914309"/>
            <a:endParaRPr lang="de-DE" u="sng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2050" name="Picture 2" descr="C:\DAT\Unternehmen\Orga\Corporate Identity\Logo\Größen\Logo 50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6373837"/>
            <a:ext cx="749300" cy="2286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8215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09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914309" rtl="0" eaLnBrk="1" latinLnBrk="0" hangingPunct="1">
        <a:spcBef>
          <a:spcPct val="20000"/>
        </a:spcBef>
        <a:buClr>
          <a:srgbClr val="F0D48E"/>
        </a:buClr>
        <a:buFont typeface="Calibri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1" algn="l" defTabSz="914309" rtl="0" eaLnBrk="1" latinLnBrk="0" hangingPunct="1">
        <a:spcBef>
          <a:spcPct val="20000"/>
        </a:spcBef>
        <a:buClrTx/>
        <a:buSzPct val="100000"/>
        <a:buFont typeface="Calibri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spcBef>
          <a:spcPct val="20000"/>
        </a:spcBef>
        <a:buFont typeface="Calibri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spcBef>
          <a:spcPct val="20000"/>
        </a:spcBef>
        <a:buFont typeface="Calibri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spcBef>
          <a:spcPct val="20000"/>
        </a:spcBef>
        <a:buFont typeface="Calibri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0" Type="http://schemas.openxmlformats.org/officeDocument/2006/relationships/tags" Target="../tags/tag10.xml"/><Relationship Id="rId11" Type="http://schemas.openxmlformats.org/officeDocument/2006/relationships/tags" Target="../tags/tag11.xml"/><Relationship Id="rId12" Type="http://schemas.openxmlformats.org/officeDocument/2006/relationships/tags" Target="../tags/tag12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5" Type="http://schemas.openxmlformats.org/officeDocument/2006/relationships/tags" Target="../tags/tag15.xml"/><Relationship Id="rId16" Type="http://schemas.openxmlformats.org/officeDocument/2006/relationships/tags" Target="../tags/tag16.xml"/><Relationship Id="rId17" Type="http://schemas.openxmlformats.org/officeDocument/2006/relationships/tags" Target="../tags/tag17.xml"/><Relationship Id="rId18" Type="http://schemas.openxmlformats.org/officeDocument/2006/relationships/tags" Target="../tags/tag18.xml"/><Relationship Id="rId19" Type="http://schemas.openxmlformats.org/officeDocument/2006/relationships/tags" Target="../tags/tag19.xml"/><Relationship Id="rId60" Type="http://schemas.openxmlformats.org/officeDocument/2006/relationships/tags" Target="../tags/tag60.xml"/><Relationship Id="rId61" Type="http://schemas.openxmlformats.org/officeDocument/2006/relationships/tags" Target="../tags/tag61.xml"/><Relationship Id="rId62" Type="http://schemas.openxmlformats.org/officeDocument/2006/relationships/tags" Target="../tags/tag62.xml"/><Relationship Id="rId63" Type="http://schemas.openxmlformats.org/officeDocument/2006/relationships/tags" Target="../tags/tag63.xml"/><Relationship Id="rId64" Type="http://schemas.openxmlformats.org/officeDocument/2006/relationships/tags" Target="../tags/tag64.xml"/><Relationship Id="rId65" Type="http://schemas.openxmlformats.org/officeDocument/2006/relationships/tags" Target="../tags/tag65.xml"/><Relationship Id="rId66" Type="http://schemas.openxmlformats.org/officeDocument/2006/relationships/tags" Target="../tags/tag66.xml"/><Relationship Id="rId67" Type="http://schemas.openxmlformats.org/officeDocument/2006/relationships/tags" Target="../tags/tag67.xml"/><Relationship Id="rId68" Type="http://schemas.openxmlformats.org/officeDocument/2006/relationships/tags" Target="../tags/tag68.xml"/><Relationship Id="rId69" Type="http://schemas.openxmlformats.org/officeDocument/2006/relationships/tags" Target="../tags/tag69.xml"/><Relationship Id="rId120" Type="http://schemas.openxmlformats.org/officeDocument/2006/relationships/tags" Target="../tags/tag120.xml"/><Relationship Id="rId121" Type="http://schemas.openxmlformats.org/officeDocument/2006/relationships/tags" Target="../tags/tag121.xml"/><Relationship Id="rId122" Type="http://schemas.openxmlformats.org/officeDocument/2006/relationships/tags" Target="../tags/tag122.xml"/><Relationship Id="rId123" Type="http://schemas.openxmlformats.org/officeDocument/2006/relationships/tags" Target="../tags/tag123.xml"/><Relationship Id="rId124" Type="http://schemas.openxmlformats.org/officeDocument/2006/relationships/tags" Target="../tags/tag124.xml"/><Relationship Id="rId125" Type="http://schemas.openxmlformats.org/officeDocument/2006/relationships/tags" Target="../tags/tag125.xml"/><Relationship Id="rId126" Type="http://schemas.openxmlformats.org/officeDocument/2006/relationships/tags" Target="../tags/tag126.xml"/><Relationship Id="rId127" Type="http://schemas.openxmlformats.org/officeDocument/2006/relationships/tags" Target="../tags/tag127.xml"/><Relationship Id="rId128" Type="http://schemas.openxmlformats.org/officeDocument/2006/relationships/tags" Target="../tags/tag128.xml"/><Relationship Id="rId129" Type="http://schemas.openxmlformats.org/officeDocument/2006/relationships/tags" Target="../tags/tag129.xml"/><Relationship Id="rId40" Type="http://schemas.openxmlformats.org/officeDocument/2006/relationships/tags" Target="../tags/tag40.xml"/><Relationship Id="rId41" Type="http://schemas.openxmlformats.org/officeDocument/2006/relationships/tags" Target="../tags/tag41.xml"/><Relationship Id="rId42" Type="http://schemas.openxmlformats.org/officeDocument/2006/relationships/tags" Target="../tags/tag42.xml"/><Relationship Id="rId90" Type="http://schemas.openxmlformats.org/officeDocument/2006/relationships/tags" Target="../tags/tag90.xml"/><Relationship Id="rId91" Type="http://schemas.openxmlformats.org/officeDocument/2006/relationships/tags" Target="../tags/tag91.xml"/><Relationship Id="rId92" Type="http://schemas.openxmlformats.org/officeDocument/2006/relationships/tags" Target="../tags/tag92.xml"/><Relationship Id="rId93" Type="http://schemas.openxmlformats.org/officeDocument/2006/relationships/tags" Target="../tags/tag93.xml"/><Relationship Id="rId94" Type="http://schemas.openxmlformats.org/officeDocument/2006/relationships/tags" Target="../tags/tag94.xml"/><Relationship Id="rId95" Type="http://schemas.openxmlformats.org/officeDocument/2006/relationships/tags" Target="../tags/tag95.xml"/><Relationship Id="rId96" Type="http://schemas.openxmlformats.org/officeDocument/2006/relationships/tags" Target="../tags/tag96.xml"/><Relationship Id="rId101" Type="http://schemas.openxmlformats.org/officeDocument/2006/relationships/tags" Target="../tags/tag101.xml"/><Relationship Id="rId102" Type="http://schemas.openxmlformats.org/officeDocument/2006/relationships/tags" Target="../tags/tag102.xml"/><Relationship Id="rId103" Type="http://schemas.openxmlformats.org/officeDocument/2006/relationships/tags" Target="../tags/tag103.xml"/><Relationship Id="rId104" Type="http://schemas.openxmlformats.org/officeDocument/2006/relationships/tags" Target="../tags/tag104.xml"/><Relationship Id="rId105" Type="http://schemas.openxmlformats.org/officeDocument/2006/relationships/tags" Target="../tags/tag105.xml"/><Relationship Id="rId106" Type="http://schemas.openxmlformats.org/officeDocument/2006/relationships/tags" Target="../tags/tag106.xml"/><Relationship Id="rId107" Type="http://schemas.openxmlformats.org/officeDocument/2006/relationships/tags" Target="../tags/tag107.xml"/><Relationship Id="rId108" Type="http://schemas.openxmlformats.org/officeDocument/2006/relationships/tags" Target="../tags/tag108.xml"/><Relationship Id="rId109" Type="http://schemas.openxmlformats.org/officeDocument/2006/relationships/tags" Target="../tags/tag109.xml"/><Relationship Id="rId97" Type="http://schemas.openxmlformats.org/officeDocument/2006/relationships/tags" Target="../tags/tag97.xml"/><Relationship Id="rId98" Type="http://schemas.openxmlformats.org/officeDocument/2006/relationships/tags" Target="../tags/tag98.xml"/><Relationship Id="rId99" Type="http://schemas.openxmlformats.org/officeDocument/2006/relationships/tags" Target="../tags/tag99.xml"/><Relationship Id="rId43" Type="http://schemas.openxmlformats.org/officeDocument/2006/relationships/tags" Target="../tags/tag43.xml"/><Relationship Id="rId44" Type="http://schemas.openxmlformats.org/officeDocument/2006/relationships/tags" Target="../tags/tag44.xml"/><Relationship Id="rId45" Type="http://schemas.openxmlformats.org/officeDocument/2006/relationships/tags" Target="../tags/tag45.xml"/><Relationship Id="rId46" Type="http://schemas.openxmlformats.org/officeDocument/2006/relationships/tags" Target="../tags/tag46.xml"/><Relationship Id="rId47" Type="http://schemas.openxmlformats.org/officeDocument/2006/relationships/tags" Target="../tags/tag47.xml"/><Relationship Id="rId48" Type="http://schemas.openxmlformats.org/officeDocument/2006/relationships/tags" Target="../tags/tag48.xml"/><Relationship Id="rId49" Type="http://schemas.openxmlformats.org/officeDocument/2006/relationships/tags" Target="../tags/tag49.xml"/><Relationship Id="rId100" Type="http://schemas.openxmlformats.org/officeDocument/2006/relationships/tags" Target="../tags/tag100.xml"/><Relationship Id="rId20" Type="http://schemas.openxmlformats.org/officeDocument/2006/relationships/tags" Target="../tags/tag20.xml"/><Relationship Id="rId21" Type="http://schemas.openxmlformats.org/officeDocument/2006/relationships/tags" Target="../tags/tag21.xml"/><Relationship Id="rId22" Type="http://schemas.openxmlformats.org/officeDocument/2006/relationships/tags" Target="../tags/tag22.xml"/><Relationship Id="rId70" Type="http://schemas.openxmlformats.org/officeDocument/2006/relationships/tags" Target="../tags/tag70.xml"/><Relationship Id="rId71" Type="http://schemas.openxmlformats.org/officeDocument/2006/relationships/tags" Target="../tags/tag71.xml"/><Relationship Id="rId72" Type="http://schemas.openxmlformats.org/officeDocument/2006/relationships/tags" Target="../tags/tag72.xml"/><Relationship Id="rId73" Type="http://schemas.openxmlformats.org/officeDocument/2006/relationships/tags" Target="../tags/tag73.xml"/><Relationship Id="rId74" Type="http://schemas.openxmlformats.org/officeDocument/2006/relationships/tags" Target="../tags/tag74.xml"/><Relationship Id="rId75" Type="http://schemas.openxmlformats.org/officeDocument/2006/relationships/tags" Target="../tags/tag75.xml"/><Relationship Id="rId76" Type="http://schemas.openxmlformats.org/officeDocument/2006/relationships/tags" Target="../tags/tag76.xml"/><Relationship Id="rId77" Type="http://schemas.openxmlformats.org/officeDocument/2006/relationships/tags" Target="../tags/tag77.xml"/><Relationship Id="rId78" Type="http://schemas.openxmlformats.org/officeDocument/2006/relationships/tags" Target="../tags/tag78.xml"/><Relationship Id="rId79" Type="http://schemas.openxmlformats.org/officeDocument/2006/relationships/tags" Target="../tags/tag79.xml"/><Relationship Id="rId23" Type="http://schemas.openxmlformats.org/officeDocument/2006/relationships/tags" Target="../tags/tag23.xml"/><Relationship Id="rId24" Type="http://schemas.openxmlformats.org/officeDocument/2006/relationships/tags" Target="../tags/tag24.xml"/><Relationship Id="rId25" Type="http://schemas.openxmlformats.org/officeDocument/2006/relationships/tags" Target="../tags/tag25.xml"/><Relationship Id="rId26" Type="http://schemas.openxmlformats.org/officeDocument/2006/relationships/tags" Target="../tags/tag26.xml"/><Relationship Id="rId27" Type="http://schemas.openxmlformats.org/officeDocument/2006/relationships/tags" Target="../tags/tag27.xml"/><Relationship Id="rId28" Type="http://schemas.openxmlformats.org/officeDocument/2006/relationships/tags" Target="../tags/tag28.xml"/><Relationship Id="rId29" Type="http://schemas.openxmlformats.org/officeDocument/2006/relationships/tags" Target="../tags/tag29.xml"/><Relationship Id="rId130" Type="http://schemas.openxmlformats.org/officeDocument/2006/relationships/slideLayout" Target="../slideLayouts/slideLayout2.xml"/><Relationship Id="rId131" Type="http://schemas.openxmlformats.org/officeDocument/2006/relationships/hyperlink" Target="http://www.aploris.com/try" TargetMode="External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9" Type="http://schemas.openxmlformats.org/officeDocument/2006/relationships/tags" Target="../tags/tag9.xml"/><Relationship Id="rId50" Type="http://schemas.openxmlformats.org/officeDocument/2006/relationships/tags" Target="../tags/tag50.xml"/><Relationship Id="rId51" Type="http://schemas.openxmlformats.org/officeDocument/2006/relationships/tags" Target="../tags/tag51.xml"/><Relationship Id="rId52" Type="http://schemas.openxmlformats.org/officeDocument/2006/relationships/tags" Target="../tags/tag52.xml"/><Relationship Id="rId53" Type="http://schemas.openxmlformats.org/officeDocument/2006/relationships/tags" Target="../tags/tag53.xml"/><Relationship Id="rId54" Type="http://schemas.openxmlformats.org/officeDocument/2006/relationships/tags" Target="../tags/tag54.xml"/><Relationship Id="rId55" Type="http://schemas.openxmlformats.org/officeDocument/2006/relationships/tags" Target="../tags/tag55.xml"/><Relationship Id="rId56" Type="http://schemas.openxmlformats.org/officeDocument/2006/relationships/tags" Target="../tags/tag56.xml"/><Relationship Id="rId57" Type="http://schemas.openxmlformats.org/officeDocument/2006/relationships/tags" Target="../tags/tag57.xml"/><Relationship Id="rId58" Type="http://schemas.openxmlformats.org/officeDocument/2006/relationships/tags" Target="../tags/tag58.xml"/><Relationship Id="rId59" Type="http://schemas.openxmlformats.org/officeDocument/2006/relationships/tags" Target="../tags/tag59.xml"/><Relationship Id="rId110" Type="http://schemas.openxmlformats.org/officeDocument/2006/relationships/tags" Target="../tags/tag110.xml"/><Relationship Id="rId111" Type="http://schemas.openxmlformats.org/officeDocument/2006/relationships/tags" Target="../tags/tag111.xml"/><Relationship Id="rId112" Type="http://schemas.openxmlformats.org/officeDocument/2006/relationships/tags" Target="../tags/tag112.xml"/><Relationship Id="rId113" Type="http://schemas.openxmlformats.org/officeDocument/2006/relationships/tags" Target="../tags/tag113.xml"/><Relationship Id="rId114" Type="http://schemas.openxmlformats.org/officeDocument/2006/relationships/tags" Target="../tags/tag114.xml"/><Relationship Id="rId115" Type="http://schemas.openxmlformats.org/officeDocument/2006/relationships/tags" Target="../tags/tag115.xml"/><Relationship Id="rId116" Type="http://schemas.openxmlformats.org/officeDocument/2006/relationships/tags" Target="../tags/tag116.xml"/><Relationship Id="rId117" Type="http://schemas.openxmlformats.org/officeDocument/2006/relationships/tags" Target="../tags/tag117.xml"/><Relationship Id="rId118" Type="http://schemas.openxmlformats.org/officeDocument/2006/relationships/tags" Target="../tags/tag118.xml"/><Relationship Id="rId119" Type="http://schemas.openxmlformats.org/officeDocument/2006/relationships/tags" Target="../tags/tag119.xml"/><Relationship Id="rId30" Type="http://schemas.openxmlformats.org/officeDocument/2006/relationships/tags" Target="../tags/tag30.xml"/><Relationship Id="rId31" Type="http://schemas.openxmlformats.org/officeDocument/2006/relationships/tags" Target="../tags/tag31.xml"/><Relationship Id="rId32" Type="http://schemas.openxmlformats.org/officeDocument/2006/relationships/tags" Target="../tags/tag32.xml"/><Relationship Id="rId33" Type="http://schemas.openxmlformats.org/officeDocument/2006/relationships/tags" Target="../tags/tag33.xml"/><Relationship Id="rId34" Type="http://schemas.openxmlformats.org/officeDocument/2006/relationships/tags" Target="../tags/tag34.xml"/><Relationship Id="rId35" Type="http://schemas.openxmlformats.org/officeDocument/2006/relationships/tags" Target="../tags/tag35.xml"/><Relationship Id="rId36" Type="http://schemas.openxmlformats.org/officeDocument/2006/relationships/tags" Target="../tags/tag36.xml"/><Relationship Id="rId37" Type="http://schemas.openxmlformats.org/officeDocument/2006/relationships/tags" Target="../tags/tag37.xml"/><Relationship Id="rId38" Type="http://schemas.openxmlformats.org/officeDocument/2006/relationships/tags" Target="../tags/tag38.xml"/><Relationship Id="rId39" Type="http://schemas.openxmlformats.org/officeDocument/2006/relationships/tags" Target="../tags/tag39.xml"/><Relationship Id="rId80" Type="http://schemas.openxmlformats.org/officeDocument/2006/relationships/tags" Target="../tags/tag80.xml"/><Relationship Id="rId81" Type="http://schemas.openxmlformats.org/officeDocument/2006/relationships/tags" Target="../tags/tag81.xml"/><Relationship Id="rId82" Type="http://schemas.openxmlformats.org/officeDocument/2006/relationships/tags" Target="../tags/tag82.xml"/><Relationship Id="rId83" Type="http://schemas.openxmlformats.org/officeDocument/2006/relationships/tags" Target="../tags/tag83.xml"/><Relationship Id="rId84" Type="http://schemas.openxmlformats.org/officeDocument/2006/relationships/tags" Target="../tags/tag84.xml"/><Relationship Id="rId85" Type="http://schemas.openxmlformats.org/officeDocument/2006/relationships/tags" Target="../tags/tag85.xml"/><Relationship Id="rId86" Type="http://schemas.openxmlformats.org/officeDocument/2006/relationships/tags" Target="../tags/tag86.xml"/><Relationship Id="rId87" Type="http://schemas.openxmlformats.org/officeDocument/2006/relationships/tags" Target="../tags/tag87.xml"/><Relationship Id="rId88" Type="http://schemas.openxmlformats.org/officeDocument/2006/relationships/tags" Target="../tags/tag88.xml"/><Relationship Id="rId89" Type="http://schemas.openxmlformats.org/officeDocument/2006/relationships/tags" Target="../tags/tag8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ekko</a:t>
            </a:r>
            <a:r>
              <a:rPr lang="en-US" dirty="0"/>
              <a:t> chart of European election votes for right-wing </a:t>
            </a:r>
            <a:r>
              <a:rPr lang="en-US" dirty="0" smtClean="0"/>
              <a:t>parties </a:t>
            </a:r>
            <a:r>
              <a:rPr lang="is-IS" dirty="0" smtClean="0"/>
              <a:t>(NY Times data)</a:t>
            </a:r>
            <a:endParaRPr lang="en-US" dirty="0"/>
          </a:p>
        </p:txBody>
      </p:sp>
      <p:sp>
        <p:nvSpPr>
          <p:cNvPr id="39" name="TextBox 38"/>
          <p:cNvSpPr txBox="1"/>
          <p:nvPr/>
        </p:nvSpPr>
        <p:spPr>
          <a:xfrm>
            <a:off x="5198689" y="6459733"/>
            <a:ext cx="394531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50" smtClean="0"/>
              <a:t>Get a free </a:t>
            </a:r>
            <a:r>
              <a:rPr lang="en-US" sz="1050" dirty="0" smtClean="0"/>
              <a:t>Aploris trial to edit this chart: </a:t>
            </a:r>
            <a:r>
              <a:rPr lang="en-US" sz="1050" dirty="0">
                <a:hlinkClick r:id="rId131"/>
              </a:rPr>
              <a:t>http://www.aploris.com/try</a:t>
            </a:r>
            <a:r>
              <a:rPr lang="en-US" sz="1050" dirty="0" smtClean="0">
                <a:hlinkClick r:id="rId131"/>
              </a:rPr>
              <a:t> </a:t>
            </a:r>
            <a:endParaRPr lang="en-US" sz="1050" dirty="0"/>
          </a:p>
        </p:txBody>
      </p:sp>
      <p:grpSp>
        <p:nvGrpSpPr>
          <p:cNvPr id="346" name="Group 345"/>
          <p:cNvGrpSpPr/>
          <p:nvPr/>
        </p:nvGrpSpPr>
        <p:grpSpPr>
          <a:xfrm>
            <a:off x="126491" y="2667000"/>
            <a:ext cx="8845152" cy="3566429"/>
            <a:chOff x="126491" y="2667000"/>
            <a:chExt cx="8845152" cy="3566429"/>
          </a:xfrm>
        </p:grpSpPr>
        <p:grpSp>
          <p:nvGrpSpPr>
            <p:cNvPr id="344" name="Group 343"/>
            <p:cNvGrpSpPr/>
            <p:nvPr>
              <p:custDataLst>
                <p:tags r:id="rId1"/>
              </p:custDataLst>
            </p:nvPr>
          </p:nvGrpSpPr>
          <p:grpSpPr>
            <a:xfrm>
              <a:off x="140772" y="2667000"/>
              <a:ext cx="8830871" cy="3204842"/>
              <a:chOff x="140772" y="2667000"/>
              <a:chExt cx="8830871" cy="3204842"/>
            </a:xfrm>
          </p:grpSpPr>
          <p:sp>
            <p:nvSpPr>
              <p:cNvPr id="30" name="Rectangle 29"/>
              <p:cNvSpPr/>
              <p:nvPr>
                <p:custDataLst>
                  <p:tags r:id="rId2"/>
                </p:custDataLst>
              </p:nvPr>
            </p:nvSpPr>
            <p:spPr bwMode="gray">
              <a:xfrm>
                <a:off x="2859519" y="2667000"/>
                <a:ext cx="93053" cy="1438093"/>
              </a:xfrm>
              <a:prstGeom prst="rect">
                <a:avLst/>
              </a:prstGeom>
              <a:solidFill>
                <a:srgbClr val="E7E7E7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19" name="Rectangle 18"/>
              <p:cNvSpPr/>
              <p:nvPr>
                <p:custDataLst>
                  <p:tags r:id="rId3"/>
                </p:custDataLst>
              </p:nvPr>
            </p:nvSpPr>
            <p:spPr bwMode="gray">
              <a:xfrm>
                <a:off x="2952572" y="4157073"/>
                <a:ext cx="340278" cy="242570"/>
              </a:xfrm>
              <a:prstGeom prst="rect">
                <a:avLst/>
              </a:prstGeom>
              <a:solidFill>
                <a:srgbClr val="C84E48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24" name="Rectangle 223"/>
              <p:cNvSpPr/>
              <p:nvPr>
                <p:custDataLst>
                  <p:tags r:id="rId4"/>
                </p:custDataLst>
              </p:nvPr>
            </p:nvSpPr>
            <p:spPr bwMode="gray">
              <a:xfrm>
                <a:off x="8176059" y="2667000"/>
                <a:ext cx="795584" cy="1732643"/>
              </a:xfrm>
              <a:prstGeom prst="rect">
                <a:avLst/>
              </a:prstGeom>
              <a:solidFill>
                <a:srgbClr val="E7E7E7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18" name="Rectangle 17"/>
              <p:cNvSpPr/>
              <p:nvPr>
                <p:custDataLst>
                  <p:tags r:id="rId5"/>
                </p:custDataLst>
              </p:nvPr>
            </p:nvSpPr>
            <p:spPr bwMode="gray">
              <a:xfrm>
                <a:off x="2007279" y="3914503"/>
                <a:ext cx="660812" cy="485140"/>
              </a:xfrm>
              <a:prstGeom prst="rect">
                <a:avLst/>
              </a:prstGeom>
              <a:solidFill>
                <a:srgbClr val="C84E48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8" name="Rectangle 7"/>
              <p:cNvSpPr/>
              <p:nvPr>
                <p:custDataLst>
                  <p:tags r:id="rId6"/>
                </p:custDataLst>
              </p:nvPr>
            </p:nvSpPr>
            <p:spPr bwMode="gray">
              <a:xfrm>
                <a:off x="2859519" y="4105093"/>
                <a:ext cx="93053" cy="138611"/>
              </a:xfrm>
              <a:prstGeom prst="rect">
                <a:avLst/>
              </a:prstGeom>
              <a:solidFill>
                <a:srgbClr val="C84E48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2" name="Rectangle 21"/>
              <p:cNvSpPr/>
              <p:nvPr>
                <p:custDataLst>
                  <p:tags r:id="rId7"/>
                </p:custDataLst>
              </p:nvPr>
            </p:nvSpPr>
            <p:spPr bwMode="gray">
              <a:xfrm>
                <a:off x="7999053" y="2667000"/>
                <a:ext cx="177006" cy="1732643"/>
              </a:xfrm>
              <a:prstGeom prst="rect">
                <a:avLst/>
              </a:prstGeom>
              <a:solidFill>
                <a:srgbClr val="E7E7E7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6" name="Rectangle 5"/>
              <p:cNvSpPr/>
              <p:nvPr>
                <p:custDataLst>
                  <p:tags r:id="rId8"/>
                </p:custDataLst>
              </p:nvPr>
            </p:nvSpPr>
            <p:spPr bwMode="gray">
              <a:xfrm>
                <a:off x="2859519" y="4243705"/>
                <a:ext cx="93053" cy="155938"/>
              </a:xfrm>
              <a:prstGeom prst="rect">
                <a:avLst/>
              </a:prstGeom>
              <a:solidFill>
                <a:srgbClr val="C84E48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3" name="Rectangle 22"/>
              <p:cNvSpPr/>
              <p:nvPr>
                <p:custDataLst>
                  <p:tags r:id="rId9"/>
                </p:custDataLst>
              </p:nvPr>
            </p:nvSpPr>
            <p:spPr bwMode="gray">
              <a:xfrm>
                <a:off x="2952572" y="2667000"/>
                <a:ext cx="340278" cy="1490073"/>
              </a:xfrm>
              <a:prstGeom prst="rect">
                <a:avLst/>
              </a:prstGeom>
              <a:solidFill>
                <a:srgbClr val="E7E7E7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14" name="Rectangle 13"/>
              <p:cNvSpPr/>
              <p:nvPr>
                <p:custDataLst>
                  <p:tags r:id="rId10"/>
                </p:custDataLst>
              </p:nvPr>
            </p:nvSpPr>
            <p:spPr bwMode="gray">
              <a:xfrm>
                <a:off x="408214" y="3619953"/>
                <a:ext cx="168937" cy="779690"/>
              </a:xfrm>
              <a:prstGeom prst="rect">
                <a:avLst/>
              </a:prstGeom>
              <a:solidFill>
                <a:srgbClr val="C84E48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9" name="Rectangle 28"/>
              <p:cNvSpPr/>
              <p:nvPr>
                <p:custDataLst>
                  <p:tags r:id="rId11"/>
                </p:custDataLst>
              </p:nvPr>
            </p:nvSpPr>
            <p:spPr bwMode="gray">
              <a:xfrm>
                <a:off x="724971" y="2667000"/>
                <a:ext cx="141983" cy="1230177"/>
              </a:xfrm>
              <a:prstGeom prst="rect">
                <a:avLst/>
              </a:prstGeom>
              <a:solidFill>
                <a:srgbClr val="E7E7E7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16" name="Rectangle 15"/>
              <p:cNvSpPr/>
              <p:nvPr>
                <p:custDataLst>
                  <p:tags r:id="rId12"/>
                </p:custDataLst>
              </p:nvPr>
            </p:nvSpPr>
            <p:spPr bwMode="gray">
              <a:xfrm>
                <a:off x="4702891" y="4278358"/>
                <a:ext cx="184904" cy="121285"/>
              </a:xfrm>
              <a:prstGeom prst="rect">
                <a:avLst/>
              </a:prstGeom>
              <a:solidFill>
                <a:srgbClr val="C84E48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17" name="Rectangle 16"/>
              <p:cNvSpPr/>
              <p:nvPr>
                <p:custDataLst>
                  <p:tags r:id="rId13"/>
                </p:custDataLst>
              </p:nvPr>
            </p:nvSpPr>
            <p:spPr bwMode="gray">
              <a:xfrm>
                <a:off x="4702891" y="4209053"/>
                <a:ext cx="184904" cy="69306"/>
              </a:xfrm>
              <a:prstGeom prst="rect">
                <a:avLst/>
              </a:prstGeom>
              <a:solidFill>
                <a:srgbClr val="C84E48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0" name="Rectangle 19"/>
              <p:cNvSpPr/>
              <p:nvPr>
                <p:custDataLst>
                  <p:tags r:id="rId14"/>
                </p:custDataLst>
              </p:nvPr>
            </p:nvSpPr>
            <p:spPr bwMode="gray">
              <a:xfrm>
                <a:off x="6759151" y="4330338"/>
                <a:ext cx="1046587" cy="69306"/>
              </a:xfrm>
              <a:prstGeom prst="rect">
                <a:avLst/>
              </a:prstGeom>
              <a:solidFill>
                <a:srgbClr val="C84E48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1" name="Rectangle 20"/>
              <p:cNvSpPr/>
              <p:nvPr>
                <p:custDataLst>
                  <p:tags r:id="rId15"/>
                </p:custDataLst>
              </p:nvPr>
            </p:nvSpPr>
            <p:spPr bwMode="gray">
              <a:xfrm>
                <a:off x="4887794" y="4226380"/>
                <a:ext cx="291863" cy="173264"/>
              </a:xfrm>
              <a:prstGeom prst="rect">
                <a:avLst/>
              </a:prstGeom>
              <a:solidFill>
                <a:srgbClr val="C84E48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15" name="Rectangle 14"/>
              <p:cNvSpPr/>
              <p:nvPr>
                <p:custDataLst>
                  <p:tags r:id="rId16"/>
                </p:custDataLst>
              </p:nvPr>
            </p:nvSpPr>
            <p:spPr bwMode="gray">
              <a:xfrm>
                <a:off x="408214" y="3273425"/>
                <a:ext cx="168937" cy="346529"/>
              </a:xfrm>
              <a:prstGeom prst="rect">
                <a:avLst/>
              </a:prstGeom>
              <a:solidFill>
                <a:srgbClr val="C84E48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8" name="Rectangle 27"/>
              <p:cNvSpPr/>
              <p:nvPr>
                <p:custDataLst>
                  <p:tags r:id="rId17"/>
                </p:custDataLst>
              </p:nvPr>
            </p:nvSpPr>
            <p:spPr bwMode="gray">
              <a:xfrm>
                <a:off x="4410169" y="2667000"/>
                <a:ext cx="169281" cy="1507400"/>
              </a:xfrm>
              <a:prstGeom prst="rect">
                <a:avLst/>
              </a:prstGeom>
              <a:solidFill>
                <a:srgbClr val="E7E7E7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28" name="Rectangle 227"/>
              <p:cNvSpPr/>
              <p:nvPr>
                <p:custDataLst>
                  <p:tags r:id="rId18"/>
                </p:custDataLst>
              </p:nvPr>
            </p:nvSpPr>
            <p:spPr bwMode="gray">
              <a:xfrm>
                <a:off x="2668092" y="2667000"/>
                <a:ext cx="97345" cy="1368788"/>
              </a:xfrm>
              <a:prstGeom prst="rect">
                <a:avLst/>
              </a:prstGeom>
              <a:solidFill>
                <a:srgbClr val="E7E7E7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29" name="Rectangle 228"/>
              <p:cNvSpPr/>
              <p:nvPr>
                <p:custDataLst>
                  <p:tags r:id="rId19"/>
                </p:custDataLst>
              </p:nvPr>
            </p:nvSpPr>
            <p:spPr bwMode="gray">
              <a:xfrm>
                <a:off x="408214" y="2667000"/>
                <a:ext cx="168937" cy="606425"/>
              </a:xfrm>
              <a:prstGeom prst="rect">
                <a:avLst/>
              </a:prstGeom>
              <a:solidFill>
                <a:srgbClr val="E7E7E7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27" name="Rectangle 226"/>
              <p:cNvSpPr/>
              <p:nvPr>
                <p:custDataLst>
                  <p:tags r:id="rId20"/>
                </p:custDataLst>
              </p:nvPr>
            </p:nvSpPr>
            <p:spPr bwMode="gray">
              <a:xfrm>
                <a:off x="5179657" y="2667000"/>
                <a:ext cx="180955" cy="1611358"/>
              </a:xfrm>
              <a:prstGeom prst="rect">
                <a:avLst/>
              </a:prstGeom>
              <a:solidFill>
                <a:srgbClr val="E7E7E7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30" name="Rectangle 229"/>
              <p:cNvSpPr/>
              <p:nvPr>
                <p:custDataLst>
                  <p:tags r:id="rId21"/>
                </p:custDataLst>
              </p:nvPr>
            </p:nvSpPr>
            <p:spPr bwMode="gray">
              <a:xfrm>
                <a:off x="6759151" y="2667000"/>
                <a:ext cx="1046587" cy="1663338"/>
              </a:xfrm>
              <a:prstGeom prst="rect">
                <a:avLst/>
              </a:prstGeom>
              <a:solidFill>
                <a:srgbClr val="E7E7E7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32" name="Rectangle 231"/>
              <p:cNvSpPr/>
              <p:nvPr>
                <p:custDataLst>
                  <p:tags r:id="rId22"/>
                </p:custDataLst>
              </p:nvPr>
            </p:nvSpPr>
            <p:spPr bwMode="gray">
              <a:xfrm>
                <a:off x="4702891" y="2667000"/>
                <a:ext cx="184904" cy="1542053"/>
              </a:xfrm>
              <a:prstGeom prst="rect">
                <a:avLst/>
              </a:prstGeom>
              <a:solidFill>
                <a:srgbClr val="E7E7E7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31" name="Rectangle 230"/>
              <p:cNvSpPr/>
              <p:nvPr>
                <p:custDataLst>
                  <p:tags r:id="rId23"/>
                </p:custDataLst>
              </p:nvPr>
            </p:nvSpPr>
            <p:spPr bwMode="gray">
              <a:xfrm>
                <a:off x="5360613" y="2667000"/>
                <a:ext cx="1398538" cy="1646011"/>
              </a:xfrm>
              <a:prstGeom prst="rect">
                <a:avLst/>
              </a:prstGeom>
              <a:solidFill>
                <a:srgbClr val="E7E7E7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25" name="Rectangle 224"/>
              <p:cNvSpPr/>
              <p:nvPr>
                <p:custDataLst>
                  <p:tags r:id="rId24"/>
                </p:custDataLst>
              </p:nvPr>
            </p:nvSpPr>
            <p:spPr bwMode="gray">
              <a:xfrm>
                <a:off x="2765436" y="2667000"/>
                <a:ext cx="94083" cy="1420768"/>
              </a:xfrm>
              <a:prstGeom prst="rect">
                <a:avLst/>
              </a:prstGeom>
              <a:solidFill>
                <a:srgbClr val="E7E7E7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26" name="Rectangle 225"/>
              <p:cNvSpPr/>
              <p:nvPr>
                <p:custDataLst>
                  <p:tags r:id="rId25"/>
                </p:custDataLst>
              </p:nvPr>
            </p:nvSpPr>
            <p:spPr bwMode="gray">
              <a:xfrm>
                <a:off x="866954" y="2667000"/>
                <a:ext cx="1140326" cy="1247503"/>
              </a:xfrm>
              <a:prstGeom prst="rect">
                <a:avLst/>
              </a:prstGeom>
              <a:solidFill>
                <a:srgbClr val="E7E7E7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6" name="Rectangle 25"/>
              <p:cNvSpPr/>
              <p:nvPr>
                <p:custDataLst>
                  <p:tags r:id="rId26"/>
                </p:custDataLst>
              </p:nvPr>
            </p:nvSpPr>
            <p:spPr bwMode="gray">
              <a:xfrm>
                <a:off x="2007279" y="2667000"/>
                <a:ext cx="660812" cy="1247503"/>
              </a:xfrm>
              <a:prstGeom prst="rect">
                <a:avLst/>
              </a:prstGeom>
              <a:solidFill>
                <a:srgbClr val="E7E7E7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12" name="Rectangle 11"/>
              <p:cNvSpPr/>
              <p:nvPr>
                <p:custDataLst>
                  <p:tags r:id="rId27"/>
                </p:custDataLst>
              </p:nvPr>
            </p:nvSpPr>
            <p:spPr bwMode="gray">
              <a:xfrm>
                <a:off x="577151" y="2667000"/>
                <a:ext cx="147820" cy="1126218"/>
              </a:xfrm>
              <a:prstGeom prst="rect">
                <a:avLst/>
              </a:prstGeom>
              <a:solidFill>
                <a:srgbClr val="E7E7E7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3" name="Rectangle 2"/>
              <p:cNvSpPr/>
              <p:nvPr>
                <p:custDataLst>
                  <p:tags r:id="rId28"/>
                </p:custDataLst>
              </p:nvPr>
            </p:nvSpPr>
            <p:spPr bwMode="gray">
              <a:xfrm>
                <a:off x="4410169" y="4174400"/>
                <a:ext cx="169281" cy="225244"/>
              </a:xfrm>
              <a:prstGeom prst="rect">
                <a:avLst/>
              </a:prstGeom>
              <a:solidFill>
                <a:srgbClr val="C84E48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5" name="Rectangle 4"/>
              <p:cNvSpPr/>
              <p:nvPr>
                <p:custDataLst>
                  <p:tags r:id="rId29"/>
                </p:custDataLst>
              </p:nvPr>
            </p:nvSpPr>
            <p:spPr bwMode="gray">
              <a:xfrm>
                <a:off x="724971" y="3897176"/>
                <a:ext cx="141983" cy="502467"/>
              </a:xfrm>
              <a:prstGeom prst="rect">
                <a:avLst/>
              </a:prstGeom>
              <a:solidFill>
                <a:srgbClr val="C84E48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4" name="Rectangle 23"/>
              <p:cNvSpPr/>
              <p:nvPr>
                <p:custDataLst>
                  <p:tags r:id="rId30"/>
                </p:custDataLst>
              </p:nvPr>
            </p:nvSpPr>
            <p:spPr bwMode="gray">
              <a:xfrm>
                <a:off x="4887794" y="2667000"/>
                <a:ext cx="291863" cy="1559378"/>
              </a:xfrm>
              <a:prstGeom prst="rect">
                <a:avLst/>
              </a:prstGeom>
              <a:solidFill>
                <a:srgbClr val="E7E7E7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11" name="Rectangle 10"/>
              <p:cNvSpPr/>
              <p:nvPr>
                <p:custDataLst>
                  <p:tags r:id="rId31"/>
                </p:custDataLst>
              </p:nvPr>
            </p:nvSpPr>
            <p:spPr bwMode="gray">
              <a:xfrm>
                <a:off x="4579450" y="2667000"/>
                <a:ext cx="123441" cy="1524726"/>
              </a:xfrm>
              <a:prstGeom prst="rect">
                <a:avLst/>
              </a:prstGeom>
              <a:solidFill>
                <a:srgbClr val="E7E7E7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13" name="Rectangle 12"/>
              <p:cNvSpPr/>
              <p:nvPr>
                <p:custDataLst>
                  <p:tags r:id="rId32"/>
                </p:custDataLst>
              </p:nvPr>
            </p:nvSpPr>
            <p:spPr bwMode="gray">
              <a:xfrm>
                <a:off x="7805736" y="2667000"/>
                <a:ext cx="193316" cy="1663338"/>
              </a:xfrm>
              <a:prstGeom prst="rect">
                <a:avLst/>
              </a:prstGeom>
              <a:solidFill>
                <a:srgbClr val="E7E7E7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10" name="Rectangle 9"/>
              <p:cNvSpPr/>
              <p:nvPr>
                <p:custDataLst>
                  <p:tags r:id="rId33"/>
                </p:custDataLst>
              </p:nvPr>
            </p:nvSpPr>
            <p:spPr bwMode="gray">
              <a:xfrm>
                <a:off x="3292850" y="2667000"/>
                <a:ext cx="1117320" cy="1507400"/>
              </a:xfrm>
              <a:prstGeom prst="rect">
                <a:avLst/>
              </a:prstGeom>
              <a:solidFill>
                <a:srgbClr val="E7E7E7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44" name="Rectangle 243"/>
              <p:cNvSpPr/>
              <p:nvPr>
                <p:custDataLst>
                  <p:tags r:id="rId34"/>
                </p:custDataLst>
              </p:nvPr>
            </p:nvSpPr>
            <p:spPr bwMode="gray">
              <a:xfrm>
                <a:off x="5360613" y="4313012"/>
                <a:ext cx="1398538" cy="86632"/>
              </a:xfrm>
              <a:prstGeom prst="rect">
                <a:avLst/>
              </a:prstGeom>
              <a:solidFill>
                <a:srgbClr val="C84E48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34" name="Rectangle 233"/>
              <p:cNvSpPr/>
              <p:nvPr>
                <p:custDataLst>
                  <p:tags r:id="rId35"/>
                </p:custDataLst>
              </p:nvPr>
            </p:nvSpPr>
            <p:spPr bwMode="gray">
              <a:xfrm>
                <a:off x="4579450" y="4278358"/>
                <a:ext cx="123441" cy="121285"/>
              </a:xfrm>
              <a:prstGeom prst="rect">
                <a:avLst/>
              </a:prstGeom>
              <a:solidFill>
                <a:srgbClr val="C84E48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38" name="Rectangle 237"/>
              <p:cNvSpPr/>
              <p:nvPr>
                <p:custDataLst>
                  <p:tags r:id="rId36"/>
                </p:custDataLst>
              </p:nvPr>
            </p:nvSpPr>
            <p:spPr bwMode="gray">
              <a:xfrm>
                <a:off x="5179657" y="4278358"/>
                <a:ext cx="180955" cy="121285"/>
              </a:xfrm>
              <a:prstGeom prst="rect">
                <a:avLst/>
              </a:prstGeom>
              <a:solidFill>
                <a:srgbClr val="C84E48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42" name="Rectangle 241"/>
              <p:cNvSpPr/>
              <p:nvPr>
                <p:custDataLst>
                  <p:tags r:id="rId37"/>
                </p:custDataLst>
              </p:nvPr>
            </p:nvSpPr>
            <p:spPr bwMode="gray">
              <a:xfrm>
                <a:off x="4579450" y="4191726"/>
                <a:ext cx="123441" cy="86632"/>
              </a:xfrm>
              <a:prstGeom prst="rect">
                <a:avLst/>
              </a:prstGeom>
              <a:solidFill>
                <a:srgbClr val="C84E48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36" name="Rectangle 235"/>
              <p:cNvSpPr/>
              <p:nvPr>
                <p:custDataLst>
                  <p:tags r:id="rId38"/>
                </p:custDataLst>
              </p:nvPr>
            </p:nvSpPr>
            <p:spPr bwMode="gray">
              <a:xfrm>
                <a:off x="866954" y="3914503"/>
                <a:ext cx="1140326" cy="485140"/>
              </a:xfrm>
              <a:prstGeom prst="rect">
                <a:avLst/>
              </a:prstGeom>
              <a:solidFill>
                <a:srgbClr val="C84E48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35" name="Rectangle 234"/>
              <p:cNvSpPr/>
              <p:nvPr>
                <p:custDataLst>
                  <p:tags r:id="rId39"/>
                </p:custDataLst>
              </p:nvPr>
            </p:nvSpPr>
            <p:spPr bwMode="gray">
              <a:xfrm>
                <a:off x="7805736" y="4330338"/>
                <a:ext cx="193316" cy="69306"/>
              </a:xfrm>
              <a:prstGeom prst="rect">
                <a:avLst/>
              </a:prstGeom>
              <a:solidFill>
                <a:srgbClr val="C84E48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43" name="Rectangle 242"/>
              <p:cNvSpPr/>
              <p:nvPr>
                <p:custDataLst>
                  <p:tags r:id="rId40"/>
                </p:custDataLst>
              </p:nvPr>
            </p:nvSpPr>
            <p:spPr bwMode="gray">
              <a:xfrm>
                <a:off x="577151" y="3793218"/>
                <a:ext cx="147820" cy="606425"/>
              </a:xfrm>
              <a:prstGeom prst="rect">
                <a:avLst/>
              </a:prstGeom>
              <a:solidFill>
                <a:srgbClr val="C84E48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41" name="Rectangle 240"/>
              <p:cNvSpPr/>
              <p:nvPr>
                <p:custDataLst>
                  <p:tags r:id="rId41"/>
                </p:custDataLst>
              </p:nvPr>
            </p:nvSpPr>
            <p:spPr bwMode="gray">
              <a:xfrm>
                <a:off x="2765436" y="4087768"/>
                <a:ext cx="94083" cy="311876"/>
              </a:xfrm>
              <a:prstGeom prst="rect">
                <a:avLst/>
              </a:prstGeom>
              <a:solidFill>
                <a:srgbClr val="C84E48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40" name="Rectangle 239"/>
              <p:cNvSpPr/>
              <p:nvPr>
                <p:custDataLst>
                  <p:tags r:id="rId42"/>
                </p:custDataLst>
              </p:nvPr>
            </p:nvSpPr>
            <p:spPr bwMode="gray">
              <a:xfrm>
                <a:off x="2668092" y="4035788"/>
                <a:ext cx="97345" cy="363855"/>
              </a:xfrm>
              <a:prstGeom prst="rect">
                <a:avLst/>
              </a:prstGeom>
              <a:solidFill>
                <a:srgbClr val="C84E48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sp>
            <p:nvSpPr>
              <p:cNvPr id="233" name="Rectangle 232"/>
              <p:cNvSpPr/>
              <p:nvPr>
                <p:custDataLst>
                  <p:tags r:id="rId43"/>
                </p:custDataLst>
              </p:nvPr>
            </p:nvSpPr>
            <p:spPr bwMode="gray">
              <a:xfrm>
                <a:off x="3292850" y="4174400"/>
                <a:ext cx="1117320" cy="225244"/>
              </a:xfrm>
              <a:prstGeom prst="rect">
                <a:avLst/>
              </a:prstGeom>
              <a:solidFill>
                <a:srgbClr val="C84E48"/>
              </a:solidFill>
              <a:ln w="9525" cmpd="sng">
                <a:solidFill>
                  <a:schemeClr val="bg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effectLst/>
                </a:endParaRPr>
              </a:p>
            </p:txBody>
          </p:sp>
          <p:cxnSp>
            <p:nvCxnSpPr>
              <p:cNvPr id="333" name="Straight Connector 332"/>
              <p:cNvCxnSpPr/>
              <p:nvPr>
                <p:custDataLst>
                  <p:tags r:id="rId44"/>
                </p:custDataLst>
              </p:nvPr>
            </p:nvCxnSpPr>
            <p:spPr bwMode="gray">
              <a:xfrm>
                <a:off x="408214" y="4399643"/>
                <a:ext cx="8563429" cy="0"/>
              </a:xfrm>
              <a:prstGeom prst="line">
                <a:avLst/>
              </a:prstGeom>
              <a:ln cmpd="sng">
                <a:solidFill>
                  <a:schemeClr val="tx1"/>
                </a:solidFill>
                <a:headEnd type="none"/>
                <a:tailEnd type="non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Straight Connector 333"/>
              <p:cNvCxnSpPr/>
              <p:nvPr>
                <p:custDataLst>
                  <p:tags r:id="rId45"/>
                </p:custDataLst>
              </p:nvPr>
            </p:nvCxnSpPr>
            <p:spPr bwMode="gray">
              <a:xfrm>
                <a:off x="1266635" y="4399643"/>
                <a:ext cx="0" cy="50800"/>
              </a:xfrm>
              <a:prstGeom prst="line">
                <a:avLst/>
              </a:prstGeom>
              <a:ln cmpd="sng">
                <a:solidFill>
                  <a:schemeClr val="tx1"/>
                </a:solidFill>
                <a:headEnd type="none"/>
                <a:tailEnd type="non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5" name="Straight Connector 334"/>
              <p:cNvCxnSpPr/>
              <p:nvPr>
                <p:custDataLst>
                  <p:tags r:id="rId46"/>
                </p:custDataLst>
              </p:nvPr>
            </p:nvCxnSpPr>
            <p:spPr bwMode="gray">
              <a:xfrm>
                <a:off x="8133997" y="4399643"/>
                <a:ext cx="0" cy="50800"/>
              </a:xfrm>
              <a:prstGeom prst="line">
                <a:avLst/>
              </a:prstGeom>
              <a:ln cmpd="sng">
                <a:solidFill>
                  <a:schemeClr val="tx1"/>
                </a:solidFill>
                <a:headEnd type="none"/>
                <a:tailEnd type="non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6" name="Straight Connector 335"/>
              <p:cNvCxnSpPr/>
              <p:nvPr>
                <p:custDataLst>
                  <p:tags r:id="rId47"/>
                </p:custDataLst>
              </p:nvPr>
            </p:nvCxnSpPr>
            <p:spPr bwMode="gray">
              <a:xfrm>
                <a:off x="408214" y="4399643"/>
                <a:ext cx="0" cy="50800"/>
              </a:xfrm>
              <a:prstGeom prst="line">
                <a:avLst/>
              </a:prstGeom>
              <a:ln cmpd="sng">
                <a:solidFill>
                  <a:schemeClr val="tx1"/>
                </a:solidFill>
                <a:headEnd type="none"/>
                <a:tailEnd type="non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7" name="Straight Connector 336"/>
              <p:cNvCxnSpPr/>
              <p:nvPr>
                <p:custDataLst>
                  <p:tags r:id="rId48"/>
                </p:custDataLst>
              </p:nvPr>
            </p:nvCxnSpPr>
            <p:spPr bwMode="gray">
              <a:xfrm>
                <a:off x="7275576" y="4399643"/>
                <a:ext cx="0" cy="50800"/>
              </a:xfrm>
              <a:prstGeom prst="line">
                <a:avLst/>
              </a:prstGeom>
              <a:ln cmpd="sng">
                <a:solidFill>
                  <a:schemeClr val="tx1"/>
                </a:solidFill>
                <a:headEnd type="none"/>
                <a:tailEnd type="non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8" name="Straight Connector 337"/>
              <p:cNvCxnSpPr/>
              <p:nvPr>
                <p:custDataLst>
                  <p:tags r:id="rId49"/>
                </p:custDataLst>
              </p:nvPr>
            </p:nvCxnSpPr>
            <p:spPr bwMode="gray">
              <a:xfrm>
                <a:off x="6417156" y="4399643"/>
                <a:ext cx="0" cy="50800"/>
              </a:xfrm>
              <a:prstGeom prst="line">
                <a:avLst/>
              </a:prstGeom>
              <a:ln cmpd="sng">
                <a:solidFill>
                  <a:schemeClr val="tx1"/>
                </a:solidFill>
                <a:headEnd type="none"/>
                <a:tailEnd type="non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9" name="Straight Connector 338"/>
              <p:cNvCxnSpPr/>
              <p:nvPr>
                <p:custDataLst>
                  <p:tags r:id="rId50"/>
                </p:custDataLst>
              </p:nvPr>
            </p:nvCxnSpPr>
            <p:spPr bwMode="gray">
              <a:xfrm>
                <a:off x="4700316" y="4399643"/>
                <a:ext cx="0" cy="50800"/>
              </a:xfrm>
              <a:prstGeom prst="line">
                <a:avLst/>
              </a:prstGeom>
              <a:ln cmpd="sng">
                <a:solidFill>
                  <a:schemeClr val="tx1"/>
                </a:solidFill>
                <a:headEnd type="none"/>
                <a:tailEnd type="non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0" name="Straight Connector 339"/>
              <p:cNvCxnSpPr/>
              <p:nvPr>
                <p:custDataLst>
                  <p:tags r:id="rId51"/>
                </p:custDataLst>
              </p:nvPr>
            </p:nvCxnSpPr>
            <p:spPr bwMode="gray">
              <a:xfrm>
                <a:off x="5558736" y="4399643"/>
                <a:ext cx="0" cy="50800"/>
              </a:xfrm>
              <a:prstGeom prst="line">
                <a:avLst/>
              </a:prstGeom>
              <a:ln cmpd="sng">
                <a:solidFill>
                  <a:schemeClr val="tx1"/>
                </a:solidFill>
                <a:headEnd type="none"/>
                <a:tailEnd type="non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1" name="Straight Connector 340"/>
              <p:cNvCxnSpPr/>
              <p:nvPr>
                <p:custDataLst>
                  <p:tags r:id="rId52"/>
                </p:custDataLst>
              </p:nvPr>
            </p:nvCxnSpPr>
            <p:spPr bwMode="gray">
              <a:xfrm>
                <a:off x="2983475" y="4399643"/>
                <a:ext cx="0" cy="50800"/>
              </a:xfrm>
              <a:prstGeom prst="line">
                <a:avLst/>
              </a:prstGeom>
              <a:ln cmpd="sng">
                <a:solidFill>
                  <a:schemeClr val="tx1"/>
                </a:solidFill>
                <a:headEnd type="none"/>
                <a:tailEnd type="non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2" name="Straight Connector 341"/>
              <p:cNvCxnSpPr/>
              <p:nvPr>
                <p:custDataLst>
                  <p:tags r:id="rId53"/>
                </p:custDataLst>
              </p:nvPr>
            </p:nvCxnSpPr>
            <p:spPr bwMode="gray">
              <a:xfrm>
                <a:off x="3841895" y="4399643"/>
                <a:ext cx="0" cy="50800"/>
              </a:xfrm>
              <a:prstGeom prst="line">
                <a:avLst/>
              </a:prstGeom>
              <a:ln cmpd="sng">
                <a:solidFill>
                  <a:schemeClr val="tx1"/>
                </a:solidFill>
                <a:headEnd type="none"/>
                <a:tailEnd type="non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3" name="Straight Connector 342"/>
              <p:cNvCxnSpPr/>
              <p:nvPr>
                <p:custDataLst>
                  <p:tags r:id="rId54"/>
                </p:custDataLst>
              </p:nvPr>
            </p:nvCxnSpPr>
            <p:spPr bwMode="gray">
              <a:xfrm>
                <a:off x="2125054" y="4399643"/>
                <a:ext cx="0" cy="50800"/>
              </a:xfrm>
              <a:prstGeom prst="line">
                <a:avLst/>
              </a:prstGeom>
              <a:ln cmpd="sng">
                <a:solidFill>
                  <a:schemeClr val="tx1"/>
                </a:solidFill>
                <a:headEnd type="none"/>
                <a:tailEnd type="non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8" name="TextBox 307"/>
              <p:cNvSpPr txBox="1"/>
              <p:nvPr>
                <p:custDataLst>
                  <p:tags r:id="rId55"/>
                </p:custDataLst>
              </p:nvPr>
            </p:nvSpPr>
            <p:spPr bwMode="gray">
              <a:xfrm>
                <a:off x="2880552" y="4469493"/>
                <a:ext cx="20584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150</a:t>
                </a:r>
                <a:endParaRPr lang="en-US" sz="900">
                  <a:effectLst/>
                </a:endParaRPr>
              </a:p>
            </p:txBody>
          </p:sp>
          <p:sp>
            <p:nvSpPr>
              <p:cNvPr id="309" name="TextBox 308"/>
              <p:cNvSpPr txBox="1"/>
              <p:nvPr>
                <p:custDataLst>
                  <p:tags r:id="rId56"/>
                </p:custDataLst>
              </p:nvPr>
            </p:nvSpPr>
            <p:spPr bwMode="gray">
              <a:xfrm>
                <a:off x="7981381" y="4469493"/>
                <a:ext cx="305232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450M</a:t>
                </a:r>
                <a:endParaRPr lang="en-US" sz="900">
                  <a:effectLst/>
                </a:endParaRPr>
              </a:p>
            </p:txBody>
          </p:sp>
          <p:sp>
            <p:nvSpPr>
              <p:cNvPr id="310" name="TextBox 309"/>
              <p:cNvSpPr txBox="1"/>
              <p:nvPr>
                <p:custDataLst>
                  <p:tags r:id="rId57"/>
                </p:custDataLst>
              </p:nvPr>
            </p:nvSpPr>
            <p:spPr bwMode="gray">
              <a:xfrm>
                <a:off x="3738973" y="4469493"/>
                <a:ext cx="20584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200</a:t>
                </a:r>
                <a:endParaRPr lang="en-US" sz="900">
                  <a:effectLst/>
                </a:endParaRPr>
              </a:p>
            </p:txBody>
          </p:sp>
          <p:sp>
            <p:nvSpPr>
              <p:cNvPr id="311" name="TextBox 310"/>
              <p:cNvSpPr txBox="1"/>
              <p:nvPr>
                <p:custDataLst>
                  <p:tags r:id="rId58"/>
                </p:custDataLst>
              </p:nvPr>
            </p:nvSpPr>
            <p:spPr bwMode="gray">
              <a:xfrm>
                <a:off x="6314234" y="4469493"/>
                <a:ext cx="20584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350</a:t>
                </a:r>
                <a:endParaRPr lang="en-US" sz="900">
                  <a:effectLst/>
                </a:endParaRPr>
              </a:p>
            </p:txBody>
          </p:sp>
          <p:sp>
            <p:nvSpPr>
              <p:cNvPr id="312" name="TextBox 311"/>
              <p:cNvSpPr txBox="1"/>
              <p:nvPr>
                <p:custDataLst>
                  <p:tags r:id="rId59"/>
                </p:custDataLst>
              </p:nvPr>
            </p:nvSpPr>
            <p:spPr bwMode="gray">
              <a:xfrm>
                <a:off x="4597393" y="4469493"/>
                <a:ext cx="20584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250</a:t>
                </a:r>
                <a:endParaRPr lang="en-US" sz="900">
                  <a:effectLst/>
                </a:endParaRPr>
              </a:p>
            </p:txBody>
          </p:sp>
          <p:sp>
            <p:nvSpPr>
              <p:cNvPr id="313" name="TextBox 312"/>
              <p:cNvSpPr txBox="1"/>
              <p:nvPr>
                <p:custDataLst>
                  <p:tags r:id="rId60"/>
                </p:custDataLst>
              </p:nvPr>
            </p:nvSpPr>
            <p:spPr bwMode="gray">
              <a:xfrm>
                <a:off x="7172654" y="4469493"/>
                <a:ext cx="20584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400</a:t>
                </a:r>
                <a:endParaRPr lang="en-US" sz="900">
                  <a:effectLst/>
                </a:endParaRPr>
              </a:p>
            </p:txBody>
          </p:sp>
          <p:sp>
            <p:nvSpPr>
              <p:cNvPr id="314" name="TextBox 313"/>
              <p:cNvSpPr txBox="1"/>
              <p:nvPr>
                <p:custDataLst>
                  <p:tags r:id="rId61"/>
                </p:custDataLst>
              </p:nvPr>
            </p:nvSpPr>
            <p:spPr bwMode="gray">
              <a:xfrm>
                <a:off x="1192566" y="4469493"/>
                <a:ext cx="148137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50</a:t>
                </a:r>
                <a:endParaRPr lang="en-US" sz="900">
                  <a:effectLst/>
                </a:endParaRPr>
              </a:p>
            </p:txBody>
          </p:sp>
          <p:sp>
            <p:nvSpPr>
              <p:cNvPr id="315" name="TextBox 314"/>
              <p:cNvSpPr txBox="1"/>
              <p:nvPr>
                <p:custDataLst>
                  <p:tags r:id="rId62"/>
                </p:custDataLst>
              </p:nvPr>
            </p:nvSpPr>
            <p:spPr bwMode="gray">
              <a:xfrm>
                <a:off x="5455813" y="4469493"/>
                <a:ext cx="20584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300</a:t>
                </a:r>
                <a:endParaRPr lang="en-US" sz="900">
                  <a:effectLst/>
                </a:endParaRPr>
              </a:p>
            </p:txBody>
          </p:sp>
          <p:sp>
            <p:nvSpPr>
              <p:cNvPr id="316" name="TextBox 315"/>
              <p:cNvSpPr txBox="1"/>
              <p:nvPr>
                <p:custDataLst>
                  <p:tags r:id="rId63"/>
                </p:custDataLst>
              </p:nvPr>
            </p:nvSpPr>
            <p:spPr bwMode="gray">
              <a:xfrm>
                <a:off x="2022132" y="4469493"/>
                <a:ext cx="20584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100</a:t>
                </a:r>
                <a:endParaRPr lang="en-US" sz="900">
                  <a:effectLst/>
                </a:endParaRPr>
              </a:p>
            </p:txBody>
          </p:sp>
          <p:sp>
            <p:nvSpPr>
              <p:cNvPr id="317" name="TextBox 316"/>
              <p:cNvSpPr txBox="1"/>
              <p:nvPr>
                <p:custDataLst>
                  <p:tags r:id="rId64"/>
                </p:custDataLst>
              </p:nvPr>
            </p:nvSpPr>
            <p:spPr bwMode="gray">
              <a:xfrm>
                <a:off x="363000" y="4469493"/>
                <a:ext cx="90429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0</a:t>
                </a:r>
                <a:endParaRPr lang="en-US" sz="900">
                  <a:effectLst/>
                </a:endParaRPr>
              </a:p>
            </p:txBody>
          </p:sp>
          <p:sp>
            <p:nvSpPr>
              <p:cNvPr id="330" name="TextBox 329"/>
              <p:cNvSpPr txBox="1"/>
              <p:nvPr>
                <p:custDataLst>
                  <p:tags r:id="rId65"/>
                </p:custDataLst>
              </p:nvPr>
            </p:nvSpPr>
            <p:spPr bwMode="gray">
              <a:xfrm rot="16200000">
                <a:off x="-573911" y="3509996"/>
                <a:ext cx="1583254" cy="153888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8002" tIns="0" rIns="18002" bIns="0" rtlCol="0">
                <a:spAutoFit/>
              </a:bodyPr>
              <a:lstStyle/>
              <a:p>
                <a:r>
                  <a:rPr lang="en-US" sz="1000" b="1" dirty="0" smtClean="0">
                    <a:effectLst/>
                  </a:rPr>
                  <a:t>% vote won (election results)</a:t>
                </a:r>
                <a:endParaRPr lang="en-US" sz="1000" b="1" dirty="0">
                  <a:effectLst/>
                </a:endParaRPr>
              </a:p>
            </p:txBody>
          </p:sp>
          <p:sp>
            <p:nvSpPr>
              <p:cNvPr id="331" name="TextBox 330"/>
              <p:cNvSpPr txBox="1"/>
              <p:nvPr>
                <p:custDataLst>
                  <p:tags r:id="rId66"/>
                </p:custDataLst>
              </p:nvPr>
            </p:nvSpPr>
            <p:spPr bwMode="gray">
              <a:xfrm>
                <a:off x="4233329" y="5403851"/>
                <a:ext cx="913199" cy="153888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8002" tIns="0" rIns="18002" bIns="0" rtlCol="0">
                <a:spAutoFit/>
              </a:bodyPr>
              <a:lstStyle/>
              <a:p>
                <a:pPr algn="ctr"/>
                <a:r>
                  <a:rPr lang="en-US" sz="1000" b="1" smtClean="0">
                    <a:effectLst/>
                  </a:rPr>
                  <a:t>2015 population</a:t>
                </a:r>
                <a:endParaRPr lang="en-US" sz="1000" b="1">
                  <a:effectLst/>
                </a:endParaRPr>
              </a:p>
            </p:txBody>
          </p:sp>
          <p:sp>
            <p:nvSpPr>
              <p:cNvPr id="268" name="TextBox 267"/>
              <p:cNvSpPr txBox="1"/>
              <p:nvPr>
                <p:custDataLst>
                  <p:tags r:id="rId67"/>
                </p:custDataLst>
              </p:nvPr>
            </p:nvSpPr>
            <p:spPr bwMode="gray">
              <a:xfrm rot="16200000">
                <a:off x="2894110" y="4799515"/>
                <a:ext cx="457203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b">
                <a:spAutoFit/>
              </a:bodyPr>
              <a:lstStyle/>
              <a:p>
                <a:pPr algn="r"/>
                <a:r>
                  <a:rPr lang="en-US" sz="900" smtClean="0">
                    <a:effectLst/>
                  </a:rPr>
                  <a:t>Romania</a:t>
                </a:r>
                <a:endParaRPr lang="en-US" sz="900">
                  <a:effectLst/>
                </a:endParaRPr>
              </a:p>
            </p:txBody>
          </p:sp>
          <p:sp>
            <p:nvSpPr>
              <p:cNvPr id="266" name="TextBox 265"/>
              <p:cNvSpPr txBox="1"/>
              <p:nvPr>
                <p:custDataLst>
                  <p:tags r:id="rId68"/>
                </p:custDataLst>
              </p:nvPr>
            </p:nvSpPr>
            <p:spPr bwMode="gray">
              <a:xfrm rot="16200000">
                <a:off x="2692673" y="4784287"/>
                <a:ext cx="426746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b">
                <a:spAutoFit/>
              </a:bodyPr>
              <a:lstStyle/>
              <a:p>
                <a:pPr algn="r"/>
                <a:r>
                  <a:rPr lang="en-US" sz="900" smtClean="0">
                    <a:effectLst/>
                  </a:rPr>
                  <a:t>Slovakia</a:t>
                </a:r>
                <a:endParaRPr lang="en-US" sz="900">
                  <a:effectLst/>
                </a:endParaRPr>
              </a:p>
            </p:txBody>
          </p:sp>
          <p:sp>
            <p:nvSpPr>
              <p:cNvPr id="253" name="TextBox 252"/>
              <p:cNvSpPr txBox="1"/>
              <p:nvPr>
                <p:custDataLst>
                  <p:tags r:id="rId69"/>
                </p:custDataLst>
              </p:nvPr>
            </p:nvSpPr>
            <p:spPr bwMode="gray">
              <a:xfrm rot="16200000">
                <a:off x="272898" y="4790699"/>
                <a:ext cx="439570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b">
                <a:spAutoFit/>
              </a:bodyPr>
              <a:lstStyle/>
              <a:p>
                <a:pPr algn="r"/>
                <a:r>
                  <a:rPr lang="en-US" sz="900" smtClean="0">
                    <a:effectLst/>
                  </a:rPr>
                  <a:t>Hungary</a:t>
                </a:r>
                <a:endParaRPr lang="en-US" sz="900">
                  <a:effectLst/>
                </a:endParaRPr>
              </a:p>
            </p:txBody>
          </p:sp>
          <p:sp>
            <p:nvSpPr>
              <p:cNvPr id="251" name="TextBox 250"/>
              <p:cNvSpPr txBox="1"/>
              <p:nvPr>
                <p:custDataLst>
                  <p:tags r:id="rId70"/>
                </p:custDataLst>
              </p:nvPr>
            </p:nvSpPr>
            <p:spPr bwMode="gray">
              <a:xfrm rot="16200000">
                <a:off x="462535" y="4759440"/>
                <a:ext cx="377053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b">
                <a:spAutoFit/>
              </a:bodyPr>
              <a:lstStyle/>
              <a:p>
                <a:pPr algn="r"/>
                <a:r>
                  <a:rPr lang="en-US" sz="900" smtClean="0">
                    <a:effectLst/>
                  </a:rPr>
                  <a:t>Austria</a:t>
                </a:r>
                <a:endParaRPr lang="en-US" sz="900">
                  <a:effectLst/>
                </a:endParaRPr>
              </a:p>
            </p:txBody>
          </p:sp>
          <p:sp>
            <p:nvSpPr>
              <p:cNvPr id="259" name="TextBox 258"/>
              <p:cNvSpPr txBox="1"/>
              <p:nvPr>
                <p:custDataLst>
                  <p:tags r:id="rId71"/>
                </p:custDataLst>
              </p:nvPr>
            </p:nvSpPr>
            <p:spPr bwMode="gray">
              <a:xfrm rot="16200000">
                <a:off x="3674204" y="4748219"/>
                <a:ext cx="354611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b">
                <a:spAutoFit/>
              </a:bodyPr>
              <a:lstStyle/>
              <a:p>
                <a:pPr algn="r"/>
                <a:r>
                  <a:rPr lang="en-US" sz="900" smtClean="0">
                    <a:effectLst/>
                  </a:rPr>
                  <a:t>Britain</a:t>
                </a:r>
                <a:endParaRPr lang="en-US" sz="900">
                  <a:effectLst/>
                </a:endParaRPr>
              </a:p>
            </p:txBody>
          </p:sp>
          <p:sp>
            <p:nvSpPr>
              <p:cNvPr id="252" name="TextBox 251"/>
              <p:cNvSpPr txBox="1"/>
              <p:nvPr>
                <p:custDataLst>
                  <p:tags r:id="rId72"/>
                </p:custDataLst>
              </p:nvPr>
            </p:nvSpPr>
            <p:spPr bwMode="gray">
              <a:xfrm rot="16200000">
                <a:off x="166408" y="5682037"/>
                <a:ext cx="241111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t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Year</a:t>
                </a:r>
                <a:endParaRPr lang="en-US" sz="900">
                  <a:effectLst/>
                </a:endParaRPr>
              </a:p>
            </p:txBody>
          </p:sp>
          <p:sp>
            <p:nvSpPr>
              <p:cNvPr id="247" name="TextBox 246"/>
              <p:cNvSpPr txBox="1"/>
              <p:nvPr>
                <p:custDataLst>
                  <p:tags r:id="rId73"/>
                </p:custDataLst>
              </p:nvPr>
            </p:nvSpPr>
            <p:spPr bwMode="gray">
              <a:xfrm rot="16200000">
                <a:off x="7663621" y="4784287"/>
                <a:ext cx="426746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b">
                <a:spAutoFit/>
              </a:bodyPr>
              <a:lstStyle/>
              <a:p>
                <a:pPr algn="r"/>
                <a:r>
                  <a:rPr lang="en-US" sz="900" smtClean="0">
                    <a:effectLst/>
                  </a:rPr>
                  <a:t>Belgium</a:t>
                </a:r>
                <a:endParaRPr lang="en-US" sz="900">
                  <a:effectLst/>
                </a:endParaRPr>
              </a:p>
            </p:txBody>
          </p:sp>
          <p:sp>
            <p:nvSpPr>
              <p:cNvPr id="260" name="TextBox 259"/>
              <p:cNvSpPr txBox="1"/>
              <p:nvPr>
                <p:custDataLst>
                  <p:tags r:id="rId74"/>
                </p:custDataLst>
              </p:nvPr>
            </p:nvSpPr>
            <p:spPr bwMode="gray">
              <a:xfrm rot="16200000">
                <a:off x="2618342" y="4765051"/>
                <a:ext cx="388274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b">
                <a:spAutoFit/>
              </a:bodyPr>
              <a:lstStyle/>
              <a:p>
                <a:pPr algn="r"/>
                <a:r>
                  <a:rPr lang="en-US" sz="900" smtClean="0">
                    <a:effectLst/>
                  </a:rPr>
                  <a:t>Finland</a:t>
                </a:r>
                <a:endParaRPr lang="en-US" sz="900">
                  <a:effectLst/>
                </a:endParaRPr>
              </a:p>
            </p:txBody>
          </p:sp>
          <p:sp>
            <p:nvSpPr>
              <p:cNvPr id="248" name="TextBox 247"/>
              <p:cNvSpPr txBox="1"/>
              <p:nvPr>
                <p:custDataLst>
                  <p:tags r:id="rId75"/>
                </p:custDataLst>
              </p:nvPr>
            </p:nvSpPr>
            <p:spPr bwMode="gray">
              <a:xfrm rot="16200000">
                <a:off x="5822464" y="4808331"/>
                <a:ext cx="47483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b">
                <a:spAutoFit/>
              </a:bodyPr>
              <a:lstStyle/>
              <a:p>
                <a:pPr algn="r"/>
                <a:r>
                  <a:rPr lang="en-US" sz="900" smtClean="0">
                    <a:effectLst/>
                  </a:rPr>
                  <a:t>Germany</a:t>
                </a:r>
                <a:endParaRPr lang="en-US" sz="900">
                  <a:effectLst/>
                </a:endParaRPr>
              </a:p>
            </p:txBody>
          </p:sp>
          <p:sp>
            <p:nvSpPr>
              <p:cNvPr id="262" name="TextBox 261"/>
              <p:cNvSpPr txBox="1"/>
              <p:nvPr>
                <p:custDataLst>
                  <p:tags r:id="rId76"/>
                </p:custDataLst>
              </p:nvPr>
            </p:nvSpPr>
            <p:spPr bwMode="gray">
              <a:xfrm rot="16200000">
                <a:off x="2153968" y="4754631"/>
                <a:ext cx="36743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b">
                <a:spAutoFit/>
              </a:bodyPr>
              <a:lstStyle/>
              <a:p>
                <a:pPr algn="r"/>
                <a:r>
                  <a:rPr lang="en-US" sz="900" smtClean="0">
                    <a:effectLst/>
                  </a:rPr>
                  <a:t>Poland</a:t>
                </a:r>
                <a:endParaRPr lang="en-US" sz="900">
                  <a:effectLst/>
                </a:endParaRPr>
              </a:p>
            </p:txBody>
          </p:sp>
          <p:sp>
            <p:nvSpPr>
              <p:cNvPr id="258" name="TextBox 257"/>
              <p:cNvSpPr txBox="1"/>
              <p:nvPr>
                <p:custDataLst>
                  <p:tags r:id="rId77"/>
                </p:custDataLst>
              </p:nvPr>
            </p:nvSpPr>
            <p:spPr bwMode="gray">
              <a:xfrm rot="16200000">
                <a:off x="1258208" y="4749822"/>
                <a:ext cx="357817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b">
                <a:spAutoFit/>
              </a:bodyPr>
              <a:lstStyle/>
              <a:p>
                <a:pPr algn="r"/>
                <a:r>
                  <a:rPr lang="en-US" sz="900" smtClean="0">
                    <a:effectLst/>
                  </a:rPr>
                  <a:t>France</a:t>
                </a:r>
                <a:endParaRPr lang="en-US" sz="900">
                  <a:effectLst/>
                </a:endParaRPr>
              </a:p>
            </p:txBody>
          </p:sp>
          <p:sp>
            <p:nvSpPr>
              <p:cNvPr id="269" name="TextBox 268"/>
              <p:cNvSpPr txBox="1"/>
              <p:nvPr>
                <p:custDataLst>
                  <p:tags r:id="rId78"/>
                </p:custDataLst>
              </p:nvPr>
            </p:nvSpPr>
            <p:spPr bwMode="gray">
              <a:xfrm rot="16200000">
                <a:off x="4723372" y="4881268"/>
                <a:ext cx="620709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b">
                <a:spAutoFit/>
              </a:bodyPr>
              <a:lstStyle/>
              <a:p>
                <a:pPr algn="r"/>
                <a:r>
                  <a:rPr lang="en-US" sz="900" smtClean="0">
                    <a:effectLst/>
                  </a:rPr>
                  <a:t>Netherlands</a:t>
                </a:r>
                <a:endParaRPr lang="en-US" sz="900">
                  <a:effectLst/>
                </a:endParaRPr>
              </a:p>
            </p:txBody>
          </p:sp>
          <p:sp>
            <p:nvSpPr>
              <p:cNvPr id="255" name="TextBox 254"/>
              <p:cNvSpPr txBox="1"/>
              <p:nvPr>
                <p:custDataLst>
                  <p:tags r:id="rId79"/>
                </p:custDataLst>
              </p:nvPr>
            </p:nvSpPr>
            <p:spPr bwMode="gray">
              <a:xfrm rot="16200000">
                <a:off x="2480147" y="4807530"/>
                <a:ext cx="473233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b">
                <a:spAutoFit/>
              </a:bodyPr>
              <a:lstStyle/>
              <a:p>
                <a:pPr algn="r"/>
                <a:r>
                  <a:rPr lang="en-US" sz="900" smtClean="0">
                    <a:effectLst/>
                  </a:rPr>
                  <a:t>Denmark</a:t>
                </a:r>
                <a:endParaRPr lang="en-US" sz="900">
                  <a:effectLst/>
                </a:endParaRPr>
              </a:p>
            </p:txBody>
          </p:sp>
          <p:sp>
            <p:nvSpPr>
              <p:cNvPr id="267" name="TextBox 266"/>
              <p:cNvSpPr txBox="1"/>
              <p:nvPr>
                <p:custDataLst>
                  <p:tags r:id="rId80"/>
                </p:custDataLst>
              </p:nvPr>
            </p:nvSpPr>
            <p:spPr bwMode="gray">
              <a:xfrm rot="16200000">
                <a:off x="7165094" y="4688263"/>
                <a:ext cx="234699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b">
                <a:spAutoFit/>
              </a:bodyPr>
              <a:lstStyle/>
              <a:p>
                <a:pPr algn="r"/>
                <a:r>
                  <a:rPr lang="en-US" sz="900" smtClean="0">
                    <a:effectLst/>
                  </a:rPr>
                  <a:t>Italy</a:t>
                </a:r>
                <a:endParaRPr lang="en-US" sz="900">
                  <a:effectLst/>
                </a:endParaRPr>
              </a:p>
            </p:txBody>
          </p:sp>
          <p:sp>
            <p:nvSpPr>
              <p:cNvPr id="257" name="TextBox 256"/>
              <p:cNvSpPr txBox="1"/>
              <p:nvPr>
                <p:custDataLst>
                  <p:tags r:id="rId81"/>
                </p:custDataLst>
              </p:nvPr>
            </p:nvSpPr>
            <p:spPr bwMode="gray">
              <a:xfrm rot="16200000">
                <a:off x="4428599" y="4783485"/>
                <a:ext cx="425143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b">
                <a:spAutoFit/>
              </a:bodyPr>
              <a:lstStyle/>
              <a:p>
                <a:pPr algn="r"/>
                <a:r>
                  <a:rPr lang="en-US" sz="900" smtClean="0">
                    <a:effectLst/>
                  </a:rPr>
                  <a:t>Bulgaria</a:t>
                </a:r>
                <a:endParaRPr lang="en-US" sz="900">
                  <a:effectLst/>
                </a:endParaRPr>
              </a:p>
            </p:txBody>
          </p:sp>
          <p:sp>
            <p:nvSpPr>
              <p:cNvPr id="256" name="TextBox 255"/>
              <p:cNvSpPr txBox="1"/>
              <p:nvPr>
                <p:custDataLst>
                  <p:tags r:id="rId82"/>
                </p:custDataLst>
              </p:nvPr>
            </p:nvSpPr>
            <p:spPr bwMode="gray">
              <a:xfrm rot="16200000">
                <a:off x="4896462" y="4944587"/>
                <a:ext cx="747347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b">
                <a:spAutoFit/>
              </a:bodyPr>
              <a:lstStyle/>
              <a:p>
                <a:pPr algn="r"/>
                <a:r>
                  <a:rPr lang="en-US" sz="900" smtClean="0">
                    <a:effectLst/>
                  </a:rPr>
                  <a:t>Czech Republic</a:t>
                </a:r>
                <a:endParaRPr lang="en-US" sz="900">
                  <a:effectLst/>
                </a:endParaRPr>
              </a:p>
            </p:txBody>
          </p:sp>
          <p:sp>
            <p:nvSpPr>
              <p:cNvPr id="265" name="TextBox 264"/>
              <p:cNvSpPr txBox="1"/>
              <p:nvPr>
                <p:custDataLst>
                  <p:tags r:id="rId83"/>
                </p:custDataLst>
              </p:nvPr>
            </p:nvSpPr>
            <p:spPr bwMode="gray">
              <a:xfrm rot="16200000">
                <a:off x="7893172" y="4790698"/>
                <a:ext cx="439569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b">
                <a:spAutoFit/>
              </a:bodyPr>
              <a:lstStyle/>
              <a:p>
                <a:pPr algn="r"/>
                <a:r>
                  <a:rPr lang="en-US" sz="900" smtClean="0">
                    <a:effectLst/>
                  </a:rPr>
                  <a:t>Portugal</a:t>
                </a:r>
                <a:endParaRPr lang="en-US" sz="900">
                  <a:effectLst/>
                </a:endParaRPr>
              </a:p>
            </p:txBody>
          </p:sp>
          <p:sp>
            <p:nvSpPr>
              <p:cNvPr id="246" name="TextBox 245"/>
              <p:cNvSpPr txBox="1"/>
              <p:nvPr>
                <p:custDataLst>
                  <p:tags r:id="rId84"/>
                </p:custDataLst>
              </p:nvPr>
            </p:nvSpPr>
            <p:spPr bwMode="gray">
              <a:xfrm rot="16200000">
                <a:off x="4606816" y="4759440"/>
                <a:ext cx="377053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b">
                <a:spAutoFit/>
              </a:bodyPr>
              <a:lstStyle/>
              <a:p>
                <a:pPr algn="r"/>
                <a:r>
                  <a:rPr lang="en-US" sz="900" smtClean="0">
                    <a:effectLst/>
                  </a:rPr>
                  <a:t>Greece</a:t>
                </a:r>
                <a:endParaRPr lang="en-US" sz="900">
                  <a:effectLst/>
                </a:endParaRPr>
              </a:p>
            </p:txBody>
          </p:sp>
          <p:sp>
            <p:nvSpPr>
              <p:cNvPr id="249" name="TextBox 248"/>
              <p:cNvSpPr txBox="1"/>
              <p:nvPr>
                <p:custDataLst>
                  <p:tags r:id="rId85"/>
                </p:custDataLst>
              </p:nvPr>
            </p:nvSpPr>
            <p:spPr bwMode="gray">
              <a:xfrm rot="16200000">
                <a:off x="500837" y="4866039"/>
                <a:ext cx="590252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b">
                <a:spAutoFit/>
              </a:bodyPr>
              <a:lstStyle/>
              <a:p>
                <a:pPr algn="r"/>
                <a:r>
                  <a:rPr lang="en-US" sz="900" smtClean="0">
                    <a:effectLst/>
                  </a:rPr>
                  <a:t>Switzerland</a:t>
                </a:r>
                <a:endParaRPr lang="en-US" sz="900">
                  <a:effectLst/>
                </a:endParaRPr>
              </a:p>
            </p:txBody>
          </p:sp>
          <p:sp>
            <p:nvSpPr>
              <p:cNvPr id="263" name="TextBox 262"/>
              <p:cNvSpPr txBox="1"/>
              <p:nvPr>
                <p:custDataLst>
                  <p:tags r:id="rId86"/>
                </p:custDataLst>
              </p:nvPr>
            </p:nvSpPr>
            <p:spPr bwMode="gray">
              <a:xfrm rot="16200000">
                <a:off x="4287047" y="4778676"/>
                <a:ext cx="41552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b">
                <a:spAutoFit/>
              </a:bodyPr>
              <a:lstStyle/>
              <a:p>
                <a:pPr algn="r"/>
                <a:r>
                  <a:rPr lang="en-US" sz="900" smtClean="0">
                    <a:effectLst/>
                  </a:rPr>
                  <a:t>Sweden</a:t>
                </a:r>
                <a:endParaRPr lang="en-US" sz="900">
                  <a:effectLst/>
                </a:endParaRPr>
              </a:p>
            </p:txBody>
          </p:sp>
          <p:sp>
            <p:nvSpPr>
              <p:cNvPr id="264" name="TextBox 263"/>
              <p:cNvSpPr txBox="1"/>
              <p:nvPr>
                <p:custDataLst>
                  <p:tags r:id="rId87"/>
                </p:custDataLst>
              </p:nvPr>
            </p:nvSpPr>
            <p:spPr bwMode="gray">
              <a:xfrm rot="16200000">
                <a:off x="8423797" y="4720968"/>
                <a:ext cx="300108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b">
                <a:spAutoFit/>
              </a:bodyPr>
              <a:lstStyle/>
              <a:p>
                <a:pPr algn="r"/>
                <a:r>
                  <a:rPr lang="en-US" sz="900" smtClean="0">
                    <a:effectLst/>
                  </a:rPr>
                  <a:t>Spain</a:t>
                </a:r>
                <a:endParaRPr lang="en-US" sz="900">
                  <a:effectLst/>
                </a:endParaRPr>
              </a:p>
            </p:txBody>
          </p:sp>
          <p:sp>
            <p:nvSpPr>
              <p:cNvPr id="46" name="TextBox 45"/>
              <p:cNvSpPr txBox="1"/>
              <p:nvPr>
                <p:custDataLst>
                  <p:tags r:id="rId88"/>
                </p:custDataLst>
              </p:nvPr>
            </p:nvSpPr>
            <p:spPr bwMode="gray">
              <a:xfrm>
                <a:off x="4428971" y="4225467"/>
                <a:ext cx="131677" cy="123111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4E48"/>
                    </a:solidFill>
                  </a14:hiddenFill>
                </a:ex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4402" tIns="0" rIns="14402" bIns="0" rtlCol="0" anchor="ctr">
                <a:spAutoFit/>
              </a:bodyPr>
              <a:lstStyle/>
              <a:p>
                <a:pPr algn="ctr"/>
                <a:r>
                  <a:rPr lang="en-US" sz="800" smtClean="0">
                    <a:solidFill>
                      <a:schemeClr val="bg1"/>
                    </a:solidFill>
                    <a:effectLst/>
                  </a:rPr>
                  <a:t>13</a:t>
                </a:r>
                <a:endParaRPr lang="en-US" sz="800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47" name="TextBox 46"/>
              <p:cNvSpPr txBox="1"/>
              <p:nvPr>
                <p:custDataLst>
                  <p:tags r:id="rId89"/>
                </p:custDataLst>
              </p:nvPr>
            </p:nvSpPr>
            <p:spPr bwMode="gray">
              <a:xfrm>
                <a:off x="730124" y="4086855"/>
                <a:ext cx="131677" cy="123111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4E48"/>
                    </a:solidFill>
                  </a14:hiddenFill>
                </a:ex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4402" tIns="0" rIns="14402" bIns="0" rtlCol="0" anchor="ctr">
                <a:spAutoFit/>
              </a:bodyPr>
              <a:lstStyle/>
              <a:p>
                <a:pPr algn="ctr"/>
                <a:r>
                  <a:rPr lang="en-US" sz="800" smtClean="0">
                    <a:solidFill>
                      <a:schemeClr val="bg1"/>
                    </a:solidFill>
                    <a:effectLst/>
                  </a:rPr>
                  <a:t>29</a:t>
                </a:r>
                <a:endParaRPr lang="en-US" sz="800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42" name="TextBox 41"/>
              <p:cNvSpPr txBox="1"/>
              <p:nvPr>
                <p:custDataLst>
                  <p:tags r:id="rId90"/>
                </p:custDataLst>
              </p:nvPr>
            </p:nvSpPr>
            <p:spPr bwMode="gray">
              <a:xfrm>
                <a:off x="2865855" y="4112844"/>
                <a:ext cx="80381" cy="123111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4E48"/>
                    </a:solidFill>
                  </a14:hiddenFill>
                </a:ex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4402" tIns="0" rIns="14402" bIns="0" rtlCol="0" anchor="ctr">
                <a:spAutoFit/>
              </a:bodyPr>
              <a:lstStyle/>
              <a:p>
                <a:pPr algn="ctr"/>
                <a:r>
                  <a:rPr lang="en-US" sz="800" smtClean="0">
                    <a:solidFill>
                      <a:schemeClr val="bg1"/>
                    </a:solidFill>
                    <a:effectLst/>
                  </a:rPr>
                  <a:t>8</a:t>
                </a:r>
                <a:endParaRPr lang="en-US" sz="800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35" name="TextBox 34"/>
              <p:cNvSpPr txBox="1"/>
              <p:nvPr>
                <p:custDataLst>
                  <p:tags r:id="rId91"/>
                </p:custDataLst>
              </p:nvPr>
            </p:nvSpPr>
            <p:spPr bwMode="gray">
              <a:xfrm>
                <a:off x="2271847" y="4095518"/>
                <a:ext cx="131677" cy="123111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4402" tIns="0" rIns="14402" bIns="0" rtlCol="0" anchor="ctr">
                <a:spAutoFit/>
              </a:bodyPr>
              <a:lstStyle/>
              <a:p>
                <a:pPr algn="ctr"/>
                <a:r>
                  <a:rPr lang="en-US" sz="800" smtClean="0">
                    <a:solidFill>
                      <a:schemeClr val="bg1"/>
                    </a:solidFill>
                    <a:effectLst/>
                  </a:rPr>
                  <a:t>28</a:t>
                </a:r>
                <a:endParaRPr lang="en-US" sz="800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36" name="TextBox 35"/>
              <p:cNvSpPr txBox="1"/>
              <p:nvPr>
                <p:custDataLst>
                  <p:tags r:id="rId92"/>
                </p:custDataLst>
              </p:nvPr>
            </p:nvSpPr>
            <p:spPr bwMode="gray">
              <a:xfrm>
                <a:off x="3055055" y="4216803"/>
                <a:ext cx="135313" cy="123111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ctr">
                <a:spAutoFit/>
              </a:bodyPr>
              <a:lstStyle/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ffectLst/>
                  </a:rPr>
                  <a:t>14</a:t>
                </a:r>
                <a:endParaRPr lang="en-US" sz="800" dirty="0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37" name="TextBox 36"/>
              <p:cNvSpPr txBox="1"/>
              <p:nvPr>
                <p:custDataLst>
                  <p:tags r:id="rId93"/>
                </p:custDataLst>
              </p:nvPr>
            </p:nvSpPr>
            <p:spPr bwMode="gray">
              <a:xfrm>
                <a:off x="2865855" y="4260119"/>
                <a:ext cx="80381" cy="123111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4E48"/>
                    </a:solidFill>
                  </a14:hiddenFill>
                </a:ex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4402" tIns="0" rIns="14402" bIns="0" rtlCol="0" anchor="ctr">
                <a:spAutoFit/>
              </a:bodyPr>
              <a:lstStyle/>
              <a:p>
                <a:pPr algn="ctr"/>
                <a:r>
                  <a:rPr lang="en-US" sz="800" smtClean="0">
                    <a:solidFill>
                      <a:schemeClr val="bg1"/>
                    </a:solidFill>
                    <a:effectLst/>
                  </a:rPr>
                  <a:t>9</a:t>
                </a:r>
                <a:endParaRPr lang="en-US" sz="800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41" name="TextBox 40"/>
              <p:cNvSpPr txBox="1"/>
              <p:nvPr>
                <p:custDataLst>
                  <p:tags r:id="rId94"/>
                </p:custDataLst>
              </p:nvPr>
            </p:nvSpPr>
            <p:spPr bwMode="gray">
              <a:xfrm>
                <a:off x="4967888" y="4251456"/>
                <a:ext cx="131677" cy="123111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4402" tIns="0" rIns="14402" bIns="0" rtlCol="0" anchor="ctr">
                <a:spAutoFit/>
              </a:bodyPr>
              <a:lstStyle/>
              <a:p>
                <a:pPr algn="ctr"/>
                <a:r>
                  <a:rPr lang="en-US" sz="800" smtClean="0">
                    <a:solidFill>
                      <a:schemeClr val="bg1"/>
                    </a:solidFill>
                    <a:effectLst/>
                  </a:rPr>
                  <a:t>10</a:t>
                </a:r>
                <a:endParaRPr lang="en-US" sz="800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61" name="TextBox 60"/>
              <p:cNvSpPr txBox="1"/>
              <p:nvPr>
                <p:custDataLst>
                  <p:tags r:id="rId95"/>
                </p:custDataLst>
              </p:nvPr>
            </p:nvSpPr>
            <p:spPr bwMode="gray">
              <a:xfrm>
                <a:off x="4600980" y="4173487"/>
                <a:ext cx="80381" cy="123111"/>
              </a:xfrm>
              <a:prstGeom prst="rect">
                <a:avLst/>
              </a:prstGeom>
              <a:solidFill>
                <a:srgbClr val="C84E48"/>
              </a:solidFill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4402" tIns="0" rIns="14402" bIns="0" rtlCol="0" anchor="ctr">
                <a:spAutoFit/>
              </a:bodyPr>
              <a:lstStyle/>
              <a:p>
                <a:pPr algn="ctr"/>
                <a:r>
                  <a:rPr lang="en-US" sz="800" smtClean="0">
                    <a:solidFill>
                      <a:schemeClr val="bg1"/>
                    </a:solidFill>
                    <a:effectLst/>
                  </a:rPr>
                  <a:t>5</a:t>
                </a:r>
                <a:endParaRPr lang="en-US" sz="800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62" name="TextBox 61"/>
              <p:cNvSpPr txBox="1"/>
              <p:nvPr>
                <p:custDataLst>
                  <p:tags r:id="rId96"/>
                </p:custDataLst>
              </p:nvPr>
            </p:nvSpPr>
            <p:spPr bwMode="gray">
              <a:xfrm>
                <a:off x="5229945" y="4277445"/>
                <a:ext cx="80381" cy="123111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4E48"/>
                    </a:solidFill>
                  </a14:hiddenFill>
                </a:ex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4402" tIns="0" rIns="14402" bIns="0" rtlCol="0" anchor="ctr">
                <a:spAutoFit/>
              </a:bodyPr>
              <a:lstStyle/>
              <a:p>
                <a:pPr algn="ctr"/>
                <a:r>
                  <a:rPr lang="en-US" sz="800" smtClean="0">
                    <a:solidFill>
                      <a:schemeClr val="bg1"/>
                    </a:solidFill>
                    <a:effectLst/>
                  </a:rPr>
                  <a:t>7</a:t>
                </a:r>
                <a:endParaRPr lang="en-US" sz="800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98" name="TextBox 97"/>
              <p:cNvSpPr txBox="1"/>
              <p:nvPr>
                <p:custDataLst>
                  <p:tags r:id="rId97"/>
                </p:custDataLst>
              </p:nvPr>
            </p:nvSpPr>
            <p:spPr bwMode="gray">
              <a:xfrm>
                <a:off x="2648204" y="4069075"/>
                <a:ext cx="131677" cy="123111"/>
              </a:xfrm>
              <a:prstGeom prst="rect">
                <a:avLst/>
              </a:prstGeom>
              <a:solidFill>
                <a:srgbClr val="C84E48"/>
              </a:solidFill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4402" tIns="0" rIns="14402" bIns="0" rtlCol="0" anchor="ctr">
                <a:spAutoFit/>
              </a:bodyPr>
              <a:lstStyle/>
              <a:p>
                <a:pPr algn="ctr"/>
                <a:r>
                  <a:rPr lang="en-US" sz="800" smtClean="0">
                    <a:solidFill>
                      <a:schemeClr val="bg1"/>
                    </a:solidFill>
                    <a:effectLst/>
                  </a:rPr>
                  <a:t>21</a:t>
                </a:r>
                <a:endParaRPr lang="en-US" sz="800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60" name="TextBox 59"/>
              <p:cNvSpPr txBox="1"/>
              <p:nvPr>
                <p:custDataLst>
                  <p:tags r:id="rId98"/>
                </p:custDataLst>
              </p:nvPr>
            </p:nvSpPr>
            <p:spPr bwMode="gray">
              <a:xfrm>
                <a:off x="4600980" y="4277445"/>
                <a:ext cx="80381" cy="123111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4E48"/>
                    </a:solidFill>
                  </a14:hiddenFill>
                </a:ex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4402" tIns="0" rIns="14402" bIns="0" rtlCol="0" anchor="ctr">
                <a:spAutoFit/>
              </a:bodyPr>
              <a:lstStyle/>
              <a:p>
                <a:pPr algn="ctr"/>
                <a:r>
                  <a:rPr lang="en-US" sz="800" smtClean="0">
                    <a:solidFill>
                      <a:schemeClr val="bg1"/>
                    </a:solidFill>
                    <a:effectLst/>
                  </a:rPr>
                  <a:t>7</a:t>
                </a:r>
                <a:endParaRPr lang="en-US" sz="800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63" name="TextBox 62"/>
              <p:cNvSpPr txBox="1"/>
              <p:nvPr>
                <p:custDataLst>
                  <p:tags r:id="rId99"/>
                </p:custDataLst>
              </p:nvPr>
            </p:nvSpPr>
            <p:spPr bwMode="gray">
              <a:xfrm>
                <a:off x="585223" y="4034875"/>
                <a:ext cx="131677" cy="123111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4E48"/>
                    </a:solidFill>
                  </a14:hiddenFill>
                </a:ex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4402" tIns="0" rIns="14402" bIns="0" rtlCol="0" anchor="ctr">
                <a:spAutoFit/>
              </a:bodyPr>
              <a:lstStyle/>
              <a:p>
                <a:pPr algn="ctr"/>
                <a:r>
                  <a:rPr lang="en-US" sz="800" smtClean="0">
                    <a:solidFill>
                      <a:schemeClr val="bg1"/>
                    </a:solidFill>
                    <a:effectLst/>
                  </a:rPr>
                  <a:t>35</a:t>
                </a:r>
                <a:endParaRPr lang="en-US" sz="800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96" name="TextBox 95"/>
              <p:cNvSpPr txBox="1"/>
              <p:nvPr>
                <p:custDataLst>
                  <p:tags r:id="rId100"/>
                </p:custDataLst>
              </p:nvPr>
            </p:nvSpPr>
            <p:spPr bwMode="gray">
              <a:xfrm>
                <a:off x="7862204" y="4303435"/>
                <a:ext cx="80381" cy="123111"/>
              </a:xfrm>
              <a:prstGeom prst="rect">
                <a:avLst/>
              </a:prstGeom>
              <a:solidFill>
                <a:srgbClr val="C84E48"/>
              </a:solidFill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4402" tIns="0" rIns="14402" bIns="0" rtlCol="0" anchor="ctr">
                <a:spAutoFit/>
              </a:bodyPr>
              <a:lstStyle/>
              <a:p>
                <a:pPr algn="ctr"/>
                <a:r>
                  <a:rPr lang="en-US" sz="800" smtClean="0">
                    <a:solidFill>
                      <a:schemeClr val="bg1"/>
                    </a:solidFill>
                    <a:effectLst/>
                  </a:rPr>
                  <a:t>4</a:t>
                </a:r>
                <a:endParaRPr lang="en-US" sz="800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97" name="TextBox 96"/>
              <p:cNvSpPr txBox="1"/>
              <p:nvPr>
                <p:custDataLst>
                  <p:tags r:id="rId101"/>
                </p:custDataLst>
              </p:nvPr>
            </p:nvSpPr>
            <p:spPr bwMode="gray">
              <a:xfrm>
                <a:off x="3785671" y="4225467"/>
                <a:ext cx="131677" cy="123111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4402" tIns="0" rIns="14402" bIns="0" rtlCol="0" anchor="ctr">
                <a:spAutoFit/>
              </a:bodyPr>
              <a:lstStyle/>
              <a:p>
                <a:pPr algn="ctr"/>
                <a:r>
                  <a:rPr lang="en-US" sz="800" smtClean="0">
                    <a:solidFill>
                      <a:schemeClr val="bg1"/>
                    </a:solidFill>
                    <a:effectLst/>
                  </a:rPr>
                  <a:t>13</a:t>
                </a:r>
                <a:endParaRPr lang="en-US" sz="800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102" name="TextBox 101"/>
              <p:cNvSpPr txBox="1"/>
              <p:nvPr>
                <p:custDataLst>
                  <p:tags r:id="rId102"/>
                </p:custDataLst>
              </p:nvPr>
            </p:nvSpPr>
            <p:spPr bwMode="gray">
              <a:xfrm>
                <a:off x="2746640" y="4188499"/>
                <a:ext cx="131677" cy="123111"/>
              </a:xfrm>
              <a:prstGeom prst="rect">
                <a:avLst/>
              </a:prstGeom>
              <a:solidFill>
                <a:srgbClr val="C84E48"/>
              </a:solidFill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4402" tIns="0" rIns="14402" bIns="0" rtlCol="0" anchor="ctr">
                <a:spAutoFit/>
              </a:bodyPr>
              <a:lstStyle/>
              <a:p>
                <a:pPr algn="ctr"/>
                <a:r>
                  <a:rPr lang="en-US" sz="800" smtClean="0">
                    <a:solidFill>
                      <a:schemeClr val="bg1"/>
                    </a:solidFill>
                    <a:effectLst/>
                  </a:rPr>
                  <a:t>18</a:t>
                </a:r>
                <a:endParaRPr lang="en-US" sz="800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101" name="TextBox 100"/>
              <p:cNvSpPr txBox="1"/>
              <p:nvPr>
                <p:custDataLst>
                  <p:tags r:id="rId103"/>
                </p:custDataLst>
              </p:nvPr>
            </p:nvSpPr>
            <p:spPr bwMode="gray">
              <a:xfrm>
                <a:off x="426844" y="3948243"/>
                <a:ext cx="131677" cy="123111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4E48"/>
                    </a:solidFill>
                  </a14:hiddenFill>
                </a:ex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4402" tIns="0" rIns="14402" bIns="0" rtlCol="0" anchor="ctr">
                <a:spAutoFit/>
              </a:bodyPr>
              <a:lstStyle/>
              <a:p>
                <a:pPr algn="ctr"/>
                <a:r>
                  <a:rPr lang="en-US" sz="800" smtClean="0">
                    <a:solidFill>
                      <a:schemeClr val="bg1"/>
                    </a:solidFill>
                    <a:effectLst/>
                  </a:rPr>
                  <a:t>45</a:t>
                </a:r>
                <a:endParaRPr lang="en-US" sz="800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38" name="TextBox 37"/>
              <p:cNvSpPr txBox="1"/>
              <p:nvPr>
                <p:custDataLst>
                  <p:tags r:id="rId104"/>
                </p:custDataLst>
              </p:nvPr>
            </p:nvSpPr>
            <p:spPr bwMode="gray">
              <a:xfrm>
                <a:off x="426844" y="3385134"/>
                <a:ext cx="131677" cy="123111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4E48"/>
                    </a:solidFill>
                  </a14:hiddenFill>
                </a:ex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4402" tIns="0" rIns="14402" bIns="0" rtlCol="0" anchor="ctr">
                <a:spAutoFit/>
              </a:bodyPr>
              <a:lstStyle/>
              <a:p>
                <a:pPr algn="ctr"/>
                <a:r>
                  <a:rPr lang="en-US" sz="800" smtClean="0">
                    <a:solidFill>
                      <a:schemeClr val="bg1"/>
                    </a:solidFill>
                    <a:effectLst/>
                  </a:rPr>
                  <a:t>20</a:t>
                </a:r>
                <a:endParaRPr lang="en-US" sz="800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40" name="TextBox 39"/>
              <p:cNvSpPr txBox="1"/>
              <p:nvPr>
                <p:custDataLst>
                  <p:tags r:id="rId105"/>
                </p:custDataLst>
              </p:nvPr>
            </p:nvSpPr>
            <p:spPr bwMode="gray">
              <a:xfrm>
                <a:off x="7242253" y="4303435"/>
                <a:ext cx="80381" cy="123111"/>
              </a:xfrm>
              <a:prstGeom prst="rect">
                <a:avLst/>
              </a:prstGeom>
              <a:solidFill>
                <a:srgbClr val="C84E48"/>
              </a:solidFill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4402" tIns="0" rIns="14402" bIns="0" rtlCol="0" anchor="ctr">
                <a:spAutoFit/>
              </a:bodyPr>
              <a:lstStyle/>
              <a:p>
                <a:pPr algn="ctr"/>
                <a:r>
                  <a:rPr lang="en-US" sz="800" smtClean="0">
                    <a:solidFill>
                      <a:schemeClr val="bg1"/>
                    </a:solidFill>
                    <a:effectLst/>
                  </a:rPr>
                  <a:t>4</a:t>
                </a:r>
                <a:endParaRPr lang="en-US" sz="800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100" name="TextBox 99"/>
              <p:cNvSpPr txBox="1"/>
              <p:nvPr>
                <p:custDataLst>
                  <p:tags r:id="rId106"/>
                </p:custDataLst>
              </p:nvPr>
            </p:nvSpPr>
            <p:spPr bwMode="gray">
              <a:xfrm>
                <a:off x="4755152" y="4182151"/>
                <a:ext cx="80381" cy="123111"/>
              </a:xfrm>
              <a:prstGeom prst="rect">
                <a:avLst/>
              </a:prstGeom>
              <a:solidFill>
                <a:srgbClr val="C84E48"/>
              </a:solidFill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4402" tIns="0" rIns="14402" bIns="0" rtlCol="0" anchor="ctr">
                <a:spAutoFit/>
              </a:bodyPr>
              <a:lstStyle/>
              <a:p>
                <a:pPr algn="ctr"/>
                <a:r>
                  <a:rPr lang="en-US" sz="800" smtClean="0">
                    <a:solidFill>
                      <a:schemeClr val="bg1"/>
                    </a:solidFill>
                    <a:effectLst/>
                  </a:rPr>
                  <a:t>4</a:t>
                </a:r>
                <a:endParaRPr lang="en-US" sz="800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103" name="TextBox 102"/>
              <p:cNvSpPr txBox="1"/>
              <p:nvPr>
                <p:custDataLst>
                  <p:tags r:id="rId107"/>
                </p:custDataLst>
              </p:nvPr>
            </p:nvSpPr>
            <p:spPr bwMode="gray">
              <a:xfrm>
                <a:off x="1371278" y="4095518"/>
                <a:ext cx="131677" cy="123111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4402" tIns="0" rIns="14402" bIns="0" rtlCol="0" anchor="ctr">
                <a:spAutoFit/>
              </a:bodyPr>
              <a:lstStyle/>
              <a:p>
                <a:pPr algn="ctr"/>
                <a:r>
                  <a:rPr lang="en-US" sz="800" smtClean="0">
                    <a:solidFill>
                      <a:schemeClr val="bg1"/>
                    </a:solidFill>
                    <a:effectLst/>
                  </a:rPr>
                  <a:t>28</a:t>
                </a:r>
                <a:endParaRPr lang="en-US" sz="800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104" name="TextBox 103"/>
              <p:cNvSpPr txBox="1"/>
              <p:nvPr>
                <p:custDataLst>
                  <p:tags r:id="rId108"/>
                </p:custDataLst>
              </p:nvPr>
            </p:nvSpPr>
            <p:spPr bwMode="gray">
              <a:xfrm>
                <a:off x="6019691" y="4294772"/>
                <a:ext cx="80381" cy="123111"/>
              </a:xfrm>
              <a:prstGeom prst="rect">
                <a:avLst/>
              </a:prstGeom>
              <a:solidFill>
                <a:srgbClr val="C84E48"/>
              </a:solidFill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4402" tIns="0" rIns="14402" bIns="0" rtlCol="0" anchor="ctr">
                <a:spAutoFit/>
              </a:bodyPr>
              <a:lstStyle/>
              <a:p>
                <a:pPr algn="ctr"/>
                <a:r>
                  <a:rPr lang="en-US" sz="800" smtClean="0">
                    <a:solidFill>
                      <a:schemeClr val="bg1"/>
                    </a:solidFill>
                    <a:effectLst/>
                  </a:rPr>
                  <a:t>5</a:t>
                </a:r>
                <a:endParaRPr lang="en-US" sz="800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99" name="TextBox 98"/>
              <p:cNvSpPr txBox="1"/>
              <p:nvPr>
                <p:custDataLst>
                  <p:tags r:id="rId109"/>
                </p:custDataLst>
              </p:nvPr>
            </p:nvSpPr>
            <p:spPr bwMode="gray">
              <a:xfrm>
                <a:off x="4755152" y="4277445"/>
                <a:ext cx="80381" cy="123111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4E48"/>
                    </a:solidFill>
                  </a14:hiddenFill>
                </a:ex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4402" tIns="0" rIns="14402" bIns="0" rtlCol="0" anchor="ctr">
                <a:spAutoFit/>
              </a:bodyPr>
              <a:lstStyle/>
              <a:p>
                <a:pPr algn="ctr"/>
                <a:r>
                  <a:rPr lang="en-US" sz="800" smtClean="0">
                    <a:solidFill>
                      <a:schemeClr val="bg1"/>
                    </a:solidFill>
                    <a:effectLst/>
                  </a:rPr>
                  <a:t>7</a:t>
                </a:r>
                <a:endParaRPr lang="en-US" sz="800">
                  <a:solidFill>
                    <a:schemeClr val="bg1"/>
                  </a:solidFill>
                  <a:effectLst/>
                </a:endParaRPr>
              </a:p>
            </p:txBody>
          </p:sp>
          <p:sp>
            <p:nvSpPr>
              <p:cNvPr id="114" name="TextBox 113"/>
              <p:cNvSpPr txBox="1"/>
              <p:nvPr>
                <p:custDataLst>
                  <p:tags r:id="rId110"/>
                </p:custDataLst>
              </p:nvPr>
            </p:nvSpPr>
            <p:spPr bwMode="gray">
              <a:xfrm rot="16200000">
                <a:off x="4708450" y="5682037"/>
                <a:ext cx="17378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ctr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'15</a:t>
                </a:r>
                <a:endParaRPr lang="en-US" sz="900">
                  <a:effectLst/>
                </a:endParaRPr>
              </a:p>
            </p:txBody>
          </p:sp>
          <p:sp>
            <p:nvSpPr>
              <p:cNvPr id="115" name="TextBox 114"/>
              <p:cNvSpPr txBox="1"/>
              <p:nvPr>
                <p:custDataLst>
                  <p:tags r:id="rId111"/>
                </p:custDataLst>
              </p:nvPr>
            </p:nvSpPr>
            <p:spPr bwMode="gray">
              <a:xfrm rot="16200000">
                <a:off x="405790" y="5682037"/>
                <a:ext cx="17378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ctr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'14</a:t>
                </a:r>
                <a:endParaRPr lang="en-US" sz="900">
                  <a:effectLst/>
                </a:endParaRPr>
              </a:p>
            </p:txBody>
          </p:sp>
          <p:sp>
            <p:nvSpPr>
              <p:cNvPr id="273" name="TextBox 272"/>
              <p:cNvSpPr txBox="1"/>
              <p:nvPr>
                <p:custDataLst>
                  <p:tags r:id="rId112"/>
                </p:custDataLst>
              </p:nvPr>
            </p:nvSpPr>
            <p:spPr bwMode="gray">
              <a:xfrm rot="16200000">
                <a:off x="7195551" y="5682037"/>
                <a:ext cx="17378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ctr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'13</a:t>
                </a:r>
                <a:endParaRPr lang="en-US" sz="900">
                  <a:effectLst/>
                </a:endParaRPr>
              </a:p>
            </p:txBody>
          </p:sp>
          <p:sp>
            <p:nvSpPr>
              <p:cNvPr id="113" name="TextBox 112"/>
              <p:cNvSpPr txBox="1"/>
              <p:nvPr>
                <p:custDataLst>
                  <p:tags r:id="rId113"/>
                </p:custDataLst>
              </p:nvPr>
            </p:nvSpPr>
            <p:spPr bwMode="gray">
              <a:xfrm rot="16200000">
                <a:off x="5972989" y="5682037"/>
                <a:ext cx="17378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ctr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'13</a:t>
                </a:r>
                <a:endParaRPr lang="en-US" sz="900">
                  <a:effectLst/>
                </a:endParaRPr>
              </a:p>
            </p:txBody>
          </p:sp>
          <p:sp>
            <p:nvSpPr>
              <p:cNvPr id="116" name="TextBox 115"/>
              <p:cNvSpPr txBox="1"/>
              <p:nvPr>
                <p:custDataLst>
                  <p:tags r:id="rId114"/>
                </p:custDataLst>
              </p:nvPr>
            </p:nvSpPr>
            <p:spPr bwMode="gray">
              <a:xfrm rot="16200000">
                <a:off x="2629871" y="5682037"/>
                <a:ext cx="17378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ctr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'15</a:t>
                </a:r>
                <a:endParaRPr lang="en-US" sz="900">
                  <a:effectLst/>
                </a:endParaRPr>
              </a:p>
            </p:txBody>
          </p:sp>
          <p:sp>
            <p:nvSpPr>
              <p:cNvPr id="119" name="TextBox 118"/>
              <p:cNvSpPr txBox="1"/>
              <p:nvPr>
                <p:custDataLst>
                  <p:tags r:id="rId115"/>
                </p:custDataLst>
              </p:nvPr>
            </p:nvSpPr>
            <p:spPr bwMode="gray">
              <a:xfrm rot="16200000">
                <a:off x="2725586" y="5682037"/>
                <a:ext cx="17378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ctr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'15</a:t>
                </a:r>
                <a:endParaRPr lang="en-US" sz="900">
                  <a:effectLst/>
                </a:endParaRPr>
              </a:p>
            </p:txBody>
          </p:sp>
          <p:sp>
            <p:nvSpPr>
              <p:cNvPr id="120" name="TextBox 119"/>
              <p:cNvSpPr txBox="1"/>
              <p:nvPr>
                <p:custDataLst>
                  <p:tags r:id="rId116"/>
                </p:custDataLst>
              </p:nvPr>
            </p:nvSpPr>
            <p:spPr bwMode="gray">
              <a:xfrm rot="16200000">
                <a:off x="1350224" y="5682037"/>
                <a:ext cx="17378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ctr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'15</a:t>
                </a:r>
                <a:endParaRPr lang="en-US" sz="900">
                  <a:effectLst/>
                </a:endParaRPr>
              </a:p>
            </p:txBody>
          </p:sp>
          <p:sp>
            <p:nvSpPr>
              <p:cNvPr id="274" name="TextBox 273"/>
              <p:cNvSpPr txBox="1"/>
              <p:nvPr>
                <p:custDataLst>
                  <p:tags r:id="rId117"/>
                </p:custDataLst>
              </p:nvPr>
            </p:nvSpPr>
            <p:spPr bwMode="gray">
              <a:xfrm rot="16200000">
                <a:off x="4946834" y="5682037"/>
                <a:ext cx="17378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ctr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'12</a:t>
                </a:r>
                <a:endParaRPr lang="en-US" sz="900">
                  <a:effectLst/>
                </a:endParaRPr>
              </a:p>
            </p:txBody>
          </p:sp>
          <p:sp>
            <p:nvSpPr>
              <p:cNvPr id="34" name="TextBox 33"/>
              <p:cNvSpPr txBox="1"/>
              <p:nvPr>
                <p:custDataLst>
                  <p:tags r:id="rId118"/>
                </p:custDataLst>
              </p:nvPr>
            </p:nvSpPr>
            <p:spPr bwMode="gray">
              <a:xfrm rot="16200000">
                <a:off x="8486959" y="5682037"/>
                <a:ext cx="17378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ctr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'15</a:t>
                </a:r>
                <a:endParaRPr lang="en-US" sz="900">
                  <a:effectLst/>
                </a:endParaRPr>
              </a:p>
            </p:txBody>
          </p:sp>
          <p:sp>
            <p:nvSpPr>
              <p:cNvPr id="32" name="TextBox 31"/>
              <p:cNvSpPr txBox="1"/>
              <p:nvPr>
                <p:custDataLst>
                  <p:tags r:id="rId119"/>
                </p:custDataLst>
              </p:nvPr>
            </p:nvSpPr>
            <p:spPr bwMode="gray">
              <a:xfrm rot="16200000">
                <a:off x="4407917" y="5682037"/>
                <a:ext cx="17378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ctr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'14</a:t>
                </a:r>
                <a:endParaRPr lang="en-US" sz="900">
                  <a:effectLst/>
                </a:endParaRPr>
              </a:p>
            </p:txBody>
          </p:sp>
          <p:sp>
            <p:nvSpPr>
              <p:cNvPr id="287" name="TextBox 286"/>
              <p:cNvSpPr txBox="1"/>
              <p:nvPr>
                <p:custDataLst>
                  <p:tags r:id="rId120"/>
                </p:custDataLst>
              </p:nvPr>
            </p:nvSpPr>
            <p:spPr bwMode="gray">
              <a:xfrm rot="16200000">
                <a:off x="709070" y="5682037"/>
                <a:ext cx="17378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ctr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'15</a:t>
                </a:r>
                <a:endParaRPr lang="en-US" sz="900">
                  <a:effectLst/>
                </a:endParaRPr>
              </a:p>
            </p:txBody>
          </p:sp>
          <p:sp>
            <p:nvSpPr>
              <p:cNvPr id="33" name="TextBox 32"/>
              <p:cNvSpPr txBox="1"/>
              <p:nvPr>
                <p:custDataLst>
                  <p:tags r:id="rId121"/>
                </p:custDataLst>
              </p:nvPr>
            </p:nvSpPr>
            <p:spPr bwMode="gray">
              <a:xfrm rot="16200000">
                <a:off x="2819153" y="5682037"/>
                <a:ext cx="17378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ctr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'16</a:t>
                </a:r>
                <a:endParaRPr lang="en-US" sz="900">
                  <a:effectLst/>
                </a:endParaRPr>
              </a:p>
            </p:txBody>
          </p:sp>
          <p:sp>
            <p:nvSpPr>
              <p:cNvPr id="272" name="TextBox 271"/>
              <p:cNvSpPr txBox="1"/>
              <p:nvPr>
                <p:custDataLst>
                  <p:tags r:id="rId122"/>
                </p:custDataLst>
              </p:nvPr>
            </p:nvSpPr>
            <p:spPr bwMode="gray">
              <a:xfrm rot="16200000">
                <a:off x="2250793" y="5682037"/>
                <a:ext cx="17378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ctr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'15</a:t>
                </a:r>
                <a:endParaRPr lang="en-US" sz="900">
                  <a:effectLst/>
                </a:endParaRPr>
              </a:p>
            </p:txBody>
          </p:sp>
          <p:sp>
            <p:nvSpPr>
              <p:cNvPr id="270" name="TextBox 269"/>
              <p:cNvSpPr txBox="1"/>
              <p:nvPr>
                <p:custDataLst>
                  <p:tags r:id="rId123"/>
                </p:custDataLst>
              </p:nvPr>
            </p:nvSpPr>
            <p:spPr bwMode="gray">
              <a:xfrm rot="16200000">
                <a:off x="8026064" y="5682037"/>
                <a:ext cx="17378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ctr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'15</a:t>
                </a:r>
                <a:endParaRPr lang="en-US" sz="900">
                  <a:effectLst/>
                </a:endParaRPr>
              </a:p>
            </p:txBody>
          </p:sp>
          <p:sp>
            <p:nvSpPr>
              <p:cNvPr id="271" name="TextBox 270"/>
              <p:cNvSpPr txBox="1"/>
              <p:nvPr>
                <p:custDataLst>
                  <p:tags r:id="rId124"/>
                </p:custDataLst>
              </p:nvPr>
            </p:nvSpPr>
            <p:spPr bwMode="gray">
              <a:xfrm rot="16200000">
                <a:off x="3035819" y="5682037"/>
                <a:ext cx="17378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ctr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'12</a:t>
                </a:r>
                <a:endParaRPr lang="en-US" sz="900">
                  <a:effectLst/>
                </a:endParaRPr>
              </a:p>
            </p:txBody>
          </p:sp>
          <p:sp>
            <p:nvSpPr>
              <p:cNvPr id="112" name="TextBox 111"/>
              <p:cNvSpPr txBox="1"/>
              <p:nvPr>
                <p:custDataLst>
                  <p:tags r:id="rId125"/>
                </p:custDataLst>
              </p:nvPr>
            </p:nvSpPr>
            <p:spPr bwMode="gray">
              <a:xfrm rot="16200000">
                <a:off x="5183243" y="5682037"/>
                <a:ext cx="17378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ctr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'13</a:t>
                </a:r>
                <a:endParaRPr lang="en-US" sz="900">
                  <a:effectLst/>
                </a:endParaRPr>
              </a:p>
            </p:txBody>
          </p:sp>
          <p:sp>
            <p:nvSpPr>
              <p:cNvPr id="106" name="TextBox 105"/>
              <p:cNvSpPr txBox="1"/>
              <p:nvPr>
                <p:custDataLst>
                  <p:tags r:id="rId126"/>
                </p:custDataLst>
              </p:nvPr>
            </p:nvSpPr>
            <p:spPr bwMode="gray">
              <a:xfrm rot="16200000">
                <a:off x="7790102" y="5682037"/>
                <a:ext cx="17378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ctr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'14</a:t>
                </a:r>
                <a:endParaRPr lang="en-US" sz="900">
                  <a:effectLst/>
                </a:endParaRPr>
              </a:p>
            </p:txBody>
          </p:sp>
          <p:sp>
            <p:nvSpPr>
              <p:cNvPr id="107" name="TextBox 106"/>
              <p:cNvSpPr txBox="1"/>
              <p:nvPr>
                <p:custDataLst>
                  <p:tags r:id="rId127"/>
                </p:custDataLst>
              </p:nvPr>
            </p:nvSpPr>
            <p:spPr bwMode="gray">
              <a:xfrm rot="16200000">
                <a:off x="3764617" y="5682037"/>
                <a:ext cx="17378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ctr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'15</a:t>
                </a:r>
                <a:endParaRPr lang="en-US" sz="900">
                  <a:effectLst/>
                </a:endParaRPr>
              </a:p>
            </p:txBody>
          </p:sp>
          <p:sp>
            <p:nvSpPr>
              <p:cNvPr id="108" name="TextBox 107"/>
              <p:cNvSpPr txBox="1"/>
              <p:nvPr>
                <p:custDataLst>
                  <p:tags r:id="rId128"/>
                </p:custDataLst>
              </p:nvPr>
            </p:nvSpPr>
            <p:spPr bwMode="gray">
              <a:xfrm rot="16200000">
                <a:off x="4554278" y="5682037"/>
                <a:ext cx="17378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ctr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'14</a:t>
                </a:r>
                <a:endParaRPr lang="en-US" sz="900">
                  <a:effectLst/>
                </a:endParaRPr>
              </a:p>
            </p:txBody>
          </p:sp>
          <p:sp>
            <p:nvSpPr>
              <p:cNvPr id="111" name="TextBox 110"/>
              <p:cNvSpPr txBox="1"/>
              <p:nvPr>
                <p:custDataLst>
                  <p:tags r:id="rId129"/>
                </p:custDataLst>
              </p:nvPr>
            </p:nvSpPr>
            <p:spPr bwMode="gray">
              <a:xfrm rot="16200000">
                <a:off x="564169" y="5682037"/>
                <a:ext cx="173785" cy="138499"/>
              </a:xfrm>
              <a:prstGeom prst="rect">
                <a:avLst/>
              </a:prstGeom>
              <a:noFill/>
              <a:ln cmpd="sng">
                <a:noFill/>
              </a:ln>
              <a:effectLst/>
              <a:extLst>
                <a:ext uri="{91240B29-F687-4F45-9708-019B960494DF}">
                  <a14:hiddenLine xmlns:a14="http://schemas.microsoft.com/office/drawing/2010/main" cmpd="sng">
                    <a:solidFill>
                      <a:schemeClr val="tx1"/>
                    </a:solidFill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7357" dir="2700000" rotWithShape="0">
                        <a:scrgbClr r="0" g="0" b="0">
                          <a:alpha val="0"/>
                        </a:scrgbClr>
                      </a:outerShdw>
                    </a:effectLst>
                  </a14:hiddenEffects>
                </a:ext>
              </a:extLst>
            </p:spPr>
            <p:txBody>
              <a:bodyPr vert="horz" wrap="none" lIns="16202" tIns="0" rIns="16202" bIns="0" rtlCol="0" anchor="ctr">
                <a:spAutoFit/>
              </a:bodyPr>
              <a:lstStyle/>
              <a:p>
                <a:pPr algn="ctr"/>
                <a:r>
                  <a:rPr lang="en-US" sz="900" smtClean="0">
                    <a:effectLst/>
                  </a:rPr>
                  <a:t>'16</a:t>
                </a:r>
                <a:endParaRPr lang="en-US" sz="900">
                  <a:effectLst/>
                </a:endParaRPr>
              </a:p>
            </p:txBody>
          </p:sp>
        </p:grpSp>
        <p:sp>
          <p:nvSpPr>
            <p:cNvPr id="217" name="Rectangle 216"/>
            <p:cNvSpPr/>
            <p:nvPr/>
          </p:nvSpPr>
          <p:spPr>
            <a:xfrm>
              <a:off x="126491" y="6002597"/>
              <a:ext cx="3655769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900" dirty="0" smtClean="0"/>
                <a:t>Source</a:t>
              </a:r>
              <a:r>
                <a:rPr lang="en-US" sz="900" smtClean="0"/>
                <a:t>: </a:t>
              </a:r>
              <a:r>
                <a:rPr lang="en-US" sz="900" smtClean="0"/>
                <a:t>NY Times; Wikipedia</a:t>
              </a:r>
              <a:endParaRPr lang="en-US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853006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9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9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93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98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97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78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79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96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99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0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9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2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1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1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69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09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1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1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1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7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7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7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7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73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68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66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67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08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0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03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0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0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2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28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2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23"/>
  <p:tag name="APLORISCONTAINERTAG" val="AAEAAAD/////AQAAAAAAAAAMAgAAAAxBcGxvcmlzLkJhc2UFAQAAAClBcGxvcmlzLkJhc2UuT2JqZWN0cy5Db250YWluZXJWZXJzaW9uSW5mbwIAAAANUmVxdWlyZWRCdWlsZAlVc2VkQnVpbGQAAAgIAgAAAHgFAABsBgAACwABAAAA/////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xLjAuMTY0NCwgQ3VsdHVyZT1uZXV0cmFsLCBQdWJsaWNLZXlUb2tlbj0xNmZjMTNhMjI2YzBlOTUxXV2oAVN5c3RlbS5Db2xsZWN0aW9ucy5HZW5lcmljLkxpc3RgMVtbQXBsb3Jpcy5DaGFydC5Db2x1bW5PcmllbnRlZENoYXJ0K1VudXNlZFNlcmllcywgQXBsb3Jpcy5DaGFydCwgVmVyc2lvbj00LjEuMC4xNjQ0LCBDdWx0dXJlPW5ldXRyYWwsIFB1YmxpY0tleVRva2VuPTE2ZmMxM2EyMjZjMGU5NTFdXaEBQXBsb3Jpcy5CYXNlLk9iamVjdHMuRGF0YU9iamVjdENvbGxlY3Rpb25gMVtbQXBsb3Jpcy5DaGFydC5DaGFydERhdGFTZXJpZXMsIEFwbG9yaXMuQ2hhcnQsIFZlcnNpb249NC4xLjAuMTY0NCwgQ3VsdHVyZT1uZXV0cmFsLCBQdWJsaWNLZXlUb2tlbj0xNmZjMTNhMjI2YzBlOTUxXV0DAAAApgFBcGxvcmlzLkJhc2UuT2JqZWN0cy5EYXRhT2JqZWN0Q29sbGVjdGlvbmAxW1tBcGxvcmlzLkNoYXJ0LkFubm90YXRpb25EYXRhU2VyaWVzLCBBcGxvcmlzLkNoYXJ0LCBWZXJzaW9uPTQuMS4wLjE2NDQsIEN1bHR1cmU9bmV1dHJhbCwgUHVibGljS2V5VG9rZW49MTZmYzEzYTIyNmMwZTk1MV1dAwAAAKEBQXBsb3Jpcy5CYXNlLk9iamVjdHMuRGF0YU9iamVjdENvbGxlY3Rpb25gMVtbQXBsb3Jpcy5DaGFydC5Bbm5vdGF0aW9uR3JvdXAsIEFwbG9yaXMuQ2hhcnQsIFZlcnNpb249NC4xLjAuMTY0NCwgQ3VsdHVyZT1uZXV0cmFsLCBQdWJsaWNLZXlUb2tlbj0xNmZjMTNhMjI2YzBlOTUxXV0DAAAAoAFBcGxvcmlzLkJhc2UuT2JqZWN0cy5EYXRhT2JqZWN0Q29sbGVjdGlvbmAxW1tBcGxvcmlzLkNoYXJ0LkNoYXJ0RGF0YUdyb3VwLCBBcGxvcmlzLkNoYXJ0LCBWZXJzaW9uPTQuMS4wLjE2NDQsIEN1bHR1cmU9bmV1dHJhbCwgUHVibGljS2V5VG9rZW49MTZmYzEzYTIyNmMwZTk1MV1dAwAAAJoBQXBsb3Jpcy5CYXNlLk9iamVjdHMuRGF0YU9iamVjdENvbGxlY3Rpb25gMVtbQXBsb3Jpcy5DaGFydC5EZWx0YUJhciwgQXBsb3Jpcy5DaGFydCwgVmVyc2lvbj00LjEuMC4xNjQ0LCBDdWx0dXJlPW5ldXRyYWwsIFB1YmxpY0tleVRva2VuPTE2ZmMxM2EyMjZjMGU5NTFdXQMAAACdAUFwbG9yaXMuQmFzZS5PYmplY3RzLkRhdGFPYmplY3RDb2xsZWN0aW9uYDFbW0FwbG9yaXMuQ2hhcnQuRGVsdGFCcmlkZ2UsIEFwbG9yaXMuQ2hhcnQsIFZlcnNpb249NC4xLjAuMTY0NCwgQ3VsdHVyZT1uZXV0cmFsLCBQdWJsaWNLZXlUb2tlbj0xNmZjMTNhMjI2YzBlOTUxXV0DAAAAnQFBcGxvcmlzLkJhc2UuT2JqZWN0cy5EYXRhT2JqZWN0Q29sbGVjdGlvbmAxW1tBcGxvcmlzLkNoYXJ0Lkdyb3d0aEFycm93LCBBcGxvcmlzLkNoYXJ0LCBWZXJzaW9uPTQuMS4wLjE2NDQsIEN1bHR1cmU9bmV1dHJhbCwgUHVibGljS2V5VG9rZW49MTZmYzEzYTIyNmMwZTk1MV1dAwAAAKQBQXBsb3Jpcy5CYXNlLk9iamVjdHMuRGF0YU9iamVjdENvbGxlY3Rpb25gMVtbQXBsb3Jpcy5DaGFydC5XYXRlcmZhbGxDb25uZWN0b3IsIEFwbG9yaXMuQ2hhcnQsIFZlcnNpb249NC4xLjAuMTY0NCwgQ3VsdHVyZT1uZXV0cmFsLCBQdWJsaWNLZXlUb2tlbj0xNmZjMTNhMjI2YzBlOTUxXV0DAAAAogFBcGxvcmlzLkJhc2UuT2JqZWN0cy5EYXRhT2JqZWN0Q29sbGVjdGlvbmAxW1tBcGxvcmlzLkNoYXJ0LkVsZW1lbnRDb25uZWN0b3IsIEFwbG9yaXMuQ2hhcnQsIFZlcnNpb249NC4xLjAuMTY0NC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S4wLjE2NDQ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S4wLjE2NDQsIEN1bHR1cmU9bmV1dHJhbCwgUHVibGljS2V5VG9rZW49MTZmYzEzYTIyNmMwZTk1MV1dAgAAAAUFAAAAJUFwbG9yaXMuQ2hhcnQuQ29sdW1uT3JpZW50ZWRDaGFydFR5cGUBAAAAB3ZhbHVlX18ACAIAAAACAAAACQYAAAAJBwAAAAoACgkIAAAACQkAAAAJCgAAAAkLAAAACQwAAAAJDQAAAAkOAAAACQ8AAAAJEAAAAAkRAAAAAAUSAAAAFUFwbG9yaXMuQ2hhcnQuQmFyVHlwZQEAAAAHdmFsdWVfXwAIAgAAAAAAAAAABRMAAAAYQXBsb3Jpcy5DaGFydC5TZXJpZXNUeXBlAQAAAAd2YWx1ZV9fAAgCAAAAAAAAAAoAAAUUAAAAGVN5c3RlbS5EcmF3aW5nLlJlY3RhbmdsZUYEAAAAAXgBeQV3aWR0aAZoZWlnaHQAAAAACwsLCwQAAAAAACBBcLtzQ0qSMkQAAKBBARUAAAAUAAAA//9/////f////3////9//wAAAAABBRYAAAAsQXBsb3Jpcy5DaGFydC5BeGlzQnJlYWsrQXhpc0JyZWFrRGlzcGxheU1vZGUBAAAAB3ZhbHVlX18ACAIAAAACAAAAAQEBCRcAAAAKCRgAAAAJGQAAAAkaAAAAAAAAAAAJGwAAAAoJHAAAAAAAAAAKBR0AAAAZQXBsb3Jpcy5DaGFydC5PcmllbnRhdGlvbgEAAAAHdmFsdWVfXwAIAgAAAAEAAAAJHgAAAAEfAAAAFAAAAAAASEIIAC5BSpIoRLptCEMABCAAAAALU3lzdGVtLkd1aWQLAAAAAl9hAl9iAl9jAl9kAl9lAl9mAl9nAl9oAl9pAl9qAl9rAAAAAAAAAAAAAAAIBwcCAgICAgICAgAAAAAAAAAAAAAAAAAAAAAACgoJIQAAAAAKCSIAAAAKAQAAAAAAAAD/////AAABIwAAABQAAABJErBDt21iQ2FijUIlSUJBctuOwQAgR0NKyjdEuN2IQwUkAAAAFVN5c3RlbS5EcmF3aW5nLlBvaW50RgIAAAABeAF5AAALCwQAAAC0KGFDAABSQwYlAAAAEGlLdCs4M2VtMzJUZVlwUCsAAAAACgoJJgAAAAknAAAAAAoJKAAAAAoJAQAAAAkpAAAABQYAAAAlQXBsb3Jpcy5DaGFydC5Db2x1bW5PcmllbnRlZENoYXJ0QXhpcyoAAAAGbUNoYXJ0CW1BeGlzVHlwZRFtUmVsYXRpdmVHYXBXaWR0aA1tSXNTZWNvbmRBeGlzG21PdGhlckF4aXNDcm9zc2VzQXRDYXRlZ29yeRdtQ2F0ZWdvcnlXaWR0aFRpY2tNYXJrcxFtU2hvd0xhYmVsRGVmYXVsdAtBeGlzK21DaGFydBBBeGlzK21WYWx1ZUxpbmVzEEF4aXMrbUF4aXNCcmVha3MSQXhpcyttTWluVmFsdWVBdXRvDkF4aXMrbU1pblZhbHVlEkF4aXMrbU1heFZhbHVlQXV0bw5BeGlzK21NYXhWYWx1ZRpBeGlzK21NYWluVGlja0Rpc3RhbmNlQXV0bxZBeGlzK21NYWluVGlja0Rpc3RhbmNlDUF4aXMrbUxvZ0F4aXMNQXhpcyttTG9nQmFzZRhBeGlzK21IdW5kZXJ0UGVyY2VudEF4aXMNQXhpcyttVmlzaWJsZR1BeGlzK21UaWNrbWFya051bWJlckZvcm1hdEFicyFBeGlzK21UaWNrbWFya051bWJlckZvcm1hdFBlcmNlbnQZQXhpcyttRGF0YU51bWJlckZvcm1hdEFicx1BeGlzK21EYXRhTnVtYmVyRm9ybWF0UGVyY2VudA9BeGlzK21UaWNrTWFya3MQQXhpcyttU3RhcnRQb2ludA5BeGlzK21FbmRQb2ludBBBeGlzK21WaXN1YWxMaW5lFEF4aXMrbUxhYmVsUG9zaXRpb25zFkF4aXMrbUxhYmVsQW5jaG9yTW9kZXMZQXhpcyttTGFiZWxBZGRJbm5lck1hcmdpbhNBeGlzK21MYWJlbFBvc2l0aW9uF0F4aXMrbU1hZ25pdHVkZUFic29sdXRlFkF4aXMrbU1hZ25pdHVkZVBlcmNlbnQLQXhpcyttTGFiZWwfQXhpcyttVGlja01hcmtFdmVudFN1c3BlbmRMZXZlbBlBeGlzK21UaWNrTWFya1F1ZXVlZEV2ZW50JEF4aXMrbVRpY2tNYXJrUXVldWVkRXZlbnRzaXplQ2hhbmdlZBhEYXRhT2JqZWN0K21DaGlsZE9iamVjdHMSRGF0YU9iamVjdCttUGFyZW50FURhdGFPYmplY3QrbUNvbnRhaW5lchlEYXRhT2JqZWN0K21WaXN1YWxPYmplY3RzBAQAAAAAAwQEBAAAAAAAAAAAAAAEBAQEBAQEBAQEBwAAAAQAAAADBAQDIUFwbG9yaXMuQ2hhcnQuQ29sdW1uT3JpZW50ZWRDaGFydAIAAAAWQXBsb3Jpcy5DaGFydC5BeGlzVHlwZQIAAAALAQEBcFN5c3RlbS5OdWxsYWJsZWAxW1tTeXN0ZW0uQm9vbGVhbiwgbXNjb3JsaWIsIFZlcnNpb249Mi4wLjAuMCwgQ3VsdHVyZT1uZXV0cmFsLCBQdWJsaWNLZXlUb2tlbj1iNzdhNWM1NjE5MzRlMDg5XV0TQXBsb3Jpcy5DaGFydC5DaGFydAIAAACbAUFwbG9yaXMuQmFzZS5PYmplY3RzLkRhdGFPYmplY3RDb2xsZWN0aW9uYDFbW0FwbG9yaXMuQ2hhcnQuVmFsdWVMaW5lLCBBcGxvcmlzLkNoYXJ0LCBWZXJzaW9uPTQuMS4wLjE2NDQsIEN1bHR1cmU9bmV1dHJhbCwgUHVibGljS2V5VG9rZW49MTZmYzEzYTIyNmMwZTk1MV1dAwAAAJsBQXBsb3Jpcy5CYXNlLk9iamVjdHMuRGF0YU9iamVjdENvbGxlY3Rpb25gMVtbQXBsb3Jpcy5DaGFydC5BeGlzQnJlYWssIEFwbG9yaXMuQ2hhcnQsIFZlcnNpb249NC4xLjAuMTY0NCwgQ3VsdHVyZT1uZXV0cmFsLCBQdWJsaWNLZXlUb2tlbj0xNmZjMTNhMjI2YzBlOTUxXV0DAAAAAQYBBgEGAQsBARpBcGxvcmlzLkNoYXJ0Lk51bWJlckZvcm1hdAIAAAAaQXBsb3Jpcy5DaGFydC5OdW1iZXJGb3JtYXQCAAAAGkFwbG9yaXMuQ2hhcnQuTnVtYmVyRm9ybWF0AgAAABpBcGxvcmlzLkNoYXJ0Lk51bWJlckZvcm1hdAIAAACaAUFwbG9yaXMuQmFzZS5PYmplY3RzLkRhdGFPYmplY3RDb2xsZWN0aW9uYDFbW0FwbG9yaXMuQ2hhcnQuVGlja01hcmssIEFwbG9yaXMuQ2hhcnQsIFZlcnNpb249NC4xLjAuMTY0NCwgQ3VsdHVyZT1uZXV0cmFsLCBQdWJsaWNLZXlUb2tlbj0xNmZjMTNhMjI2YzBlOTUxXV0DAAAAFVN5c3RlbS5EcmF3aW5nLlBvaW50RgQAAAAVU3lzdGVtLkRyYXdpbmcuUG9pbnRGBAAAABpBcGxvcmlzLkJhc2UuVUkuVmlzdWFsTGluZQMAAAAXU3lzdGVtLkRyYXdpbmcuUG9pbnRGW10EAAAAGUFwbG9yaXMuQmFzZS5BbmNob3JNb2RlW10DAAAAAQgICBVBcGxvcmlzLkJhc2UuVUkuTGFiZWwDAAAACAEBmAFTeXN0ZW0uQ29sbGVjdGlvbnMuR2VuZXJpYy5MaXN0YDFbW0FwbG9yaXMuQmFzZS5PYmplY3RzLkRhdGFPYmplY3QsIEFwbG9yaXMuQmFzZSwgVmVyc2lvbj00LjEuMC4xNjQ0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EuMC4xNjQ0LCBDdWx0dXJlPW5ldXRyYWwsIFB1YmxpY0tleVRva2VuPTE2ZmMxM2EyMjZjMGU5NTFdXQIAAAAJAQAAAAUqAAAAFkFwbG9yaXMuQ2hhcnQuQXhpc1R5cGUBAAAAB3ZhbHVlX18ACAIAAAACAAAAmpkZPwAAAQoJAQAAAAkrAAAACSwAAAABAAAAAAAAAAABcD0K16Msf0ABAAAAAAAASUAAAAAgQQABCS0AAAAKCS4AAAAJLwAAAAkwAAAAATEAAAAkAAAAAABIQrpNE0MBMgAAACQAAABKEjVEuk0TQwkzAAAACTQAAAAJNQAAAAk2AAAAAgAAAAAAAAAAAAAACTcAAAAAAAAAAAAJOAAAAAkBAAAACQEAAAAJOQAAAAEHAAAABgAAAAkBAAAAAToAAAAqAAAAAAAAAM3MTD8AAAAIAQAJAQAAAAk7AAAACTwAAAABAAAAAAAAAAABAAAAAAAA8D8AAAAAAAAA0D8AAAAgQQEACT0AAAAKCT4AAAAJPwAAAAlAAAAAAUEAAAAkAAAAAABIQrpNE0MBQgAAACQAAAAAAEhCCAAuQQlDAAAACUQAAAAJRQAAAAlGAAAAAAAAAP7///8AAAAACUcAAAAAAAAAAAAJSAAAAAkBAAAACQEAAAAJSQAAAAQIAAAAqAFTeXN0ZW0uQ29sbGVjdGlvbnMuR2VuZXJpYy5MaXN0YDFbW0FwbG9yaXMuQ2hhcnQuQ29sdW1uT3JpZW50ZWRDaGFydCtVbnVzZWRTZXJpZXMsIEFwbG9yaXMuQ2hhcnQsIFZlcnNpb249NC4xLjAuMTY0NCwgQ3VsdHVyZT1uZXV0cmFsLCBQdWJsaWNLZXlUb2tlbj0xNmZjMTNhMjI2YzBlOTUxXV0DAAAABl9pdGVtcwVfc2l6ZQhfdmVyc2lvbgQAADBBcGxvcmlzLkNoYXJ0LkNvbHVtbk9yaWVudGVkQ2hhcnQrVW51c2VkU2VyaWVzW10CAAAACAgJSgAAAAAAAAAAAAAABQkAAAChAUFwbG9yaXMuQmFzZS5PYmplY3RzLkRhdGFPYmplY3RDb2xsZWN0aW9uYDFbW0FwbG9yaXMuQ2hhcnQuQ2hhcnREYXRhU2VyaWVzLCBBcGxvcmlzLkNoYXJ0LCBWZXJzaW9uPTQuMS4wLjE2NDQsIEN1bHR1cmU9bmV1dHJhbCwgUHVibGljS2V5VG9rZW49MTZmYzEzYTIyNmMwZTk1MV1dBgAAAAttQ29sbGVjdGlvbgVtTGlzdBhEYXRhT2JqZWN0K21DaGlsZE9iamVjdHMSRGF0YU9iamVjdCttUGFyZW50FURhdGFPYmplY3QrbUNvbnRhaW5lchlEYXRhT2JqZWN0K21WaXN1YWxPYmplY3RzBAMDBAQDnwFBcGxvcmlzLkJhc2UuT2JqZWN0cy5Tb3J0YWJsZUNvbGxlY3Rpb25gMVtbQXBsb3Jpcy5DaGFydC5DaGFydERhdGFTZXJpZXMsIEFwbG9yaXMuQ2hhcnQsIFZlcnNpb249NC4xLjAuMTY0NCwgQ3VsdHVyZT1uZXV0cmFsLCBQdWJsaWNLZXlUb2tlbj0xNmZjMTNhMjI2YzBlOTUxXV0DAAAAlwFTeXN0ZW0uQ29sbGVjdGlvbnMuR2VuZXJpYy5MaXN0YDFbW0FwbG9yaXMuQ2hhcnQuQ2hhcnREYXRhU2VyaWVzLCBBcGxvcmlzLkNoYXJ0LCBWZXJzaW9uPTQuMS4wLjE2NDQsIEN1bHR1cmU9bmV1dHJhbCwgUHVibGljS2V5VG9rZW49MTZmYzEzYTIyNmMwZTk1MV1dmAFTeXN0ZW0uQ29sbGVjdGlvbnMuR2VuZXJpYy5MaXN0YDFbW0FwbG9yaXMuQmFzZS5PYmplY3RzLkRhdGFPYmplY3QsIEFwbG9yaXMuQmFzZSwgVmVyc2lvbj00LjEuMC4xNjQ0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EuMC4xNjQ0LCBDdWx0dXJlPW5ldXRyYWwsIFB1YmxpY0tleVRva2VuPTE2ZmMxM2EyMjZjMGU5NTFdXQMAAAAKCUsAAAAJTAAAAAkBAAAACQEAAAAJTQAAAAUKAAAApgFBcGxvcmlzLkJhc2UuT2JqZWN0cy5EYXRhT2JqZWN0Q29sbGVjdGlvbmAxW1tBcGxvcmlzLkNoYXJ0LkFubm90YXRpb25EYXRhU2VyaWVzLCBBcGxvcmlzLkNoYXJ0LCBWZXJzaW9uPTQuMS4wLjE2NDQsIEN1bHR1cmU9bmV1dHJhbCwgUHVibGljS2V5VG9rZW49MTZmYzEzYTIyNmMwZTk1MV1dBgAAAAttQ29sbGVjdGlvbgVtTGlzdBhEYXRhT2JqZWN0K21DaGlsZE9iamVjdHMSRGF0YU9iamVjdCttUGFyZW50FURhdGFPYmplY3QrbUNvbnRhaW5lchlEYXRhT2JqZWN0K21WaXN1YWxPYmplY3RzBAMDBAQDpAFBcGxvcmlzLkJhc2UuT2JqZWN0cy5Tb3J0YWJsZUNvbGxlY3Rpb25gMVtbQXBsb3Jpcy5DaGFydC5Bbm5vdGF0aW9uRGF0YVNlcmllcywgQXBsb3Jpcy5DaGFydCwgVmVyc2lvbj00LjEuMC4xNjQ0LCBDdWx0dXJlPW5ldXRyYWwsIFB1YmxpY0tleVRva2VuPTE2ZmMxM2EyMjZjMGU5NTFdXQMAAACcAVN5c3RlbS5Db2xsZWN0aW9ucy5HZW5lcmljLkxpc3RgMVtbQXBsb3Jpcy5DaGFydC5Bbm5vdGF0aW9uRGF0YVNlcmllcywgQXBsb3Jpcy5DaGFydCwgVmVyc2lvbj00LjEuMC4xNjQ0LCBDdWx0dXJlPW5ldXRyYWwsIFB1YmxpY0tleVRva2VuPTE2ZmMxM2EyMjZjMGU5NTFdXZgBU3lzdGVtLkNvbGxlY3Rpb25zLkdlbmVyaWMuTGlzdGAxW1tBcGxvcmlzLkJhc2UuT2JqZWN0cy5EYXRhT2JqZWN0LCBBcGxvcmlzLkJhc2UsIFZlcnNpb249NC4xLjAuMTY0N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xLjAuMTY0NCwgQ3VsdHVyZT1uZXV0cmFsLCBQdWJsaWNLZXlUb2tlbj0xNmZjMTNhMjI2YzBlOTUxXV0DAAAACglOAAAACU8AAAAJAQAAAAkBAAAACVAAAAAFCwAAAKEBQXBsb3Jpcy5CYXNlLk9iamVjdHMuRGF0YU9iamVjdENvbGxlY3Rpb25gMVtbQXBsb3Jpcy5DaGFydC5Bbm5vdGF0aW9uR3JvdXAsIEFwbG9yaXMuQ2hhcnQsIFZlcnNpb249NC4xLjAuMTY0NC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Fubm90YXRpb25Hcm91cCwgQXBsb3Jpcy5DaGFydCwgVmVyc2lvbj00LjEuMC4xNjQ0LCBDdWx0dXJlPW5ldXRyYWwsIFB1YmxpY0tleVRva2VuPTE2ZmMxM2EyMjZjMGU5NTFdXQMAAACXAVN5c3RlbS5Db2xsZWN0aW9ucy5HZW5lcmljLkxpc3RgMVtbQXBsb3Jpcy5DaGFydC5Bbm5vdGF0aW9uR3JvdXAsIEFwbG9yaXMuQ2hhcnQsIFZlcnNpb249NC4xLjAuMTY0NCwgQ3VsdHVyZT1uZXV0cmFsLCBQdWJsaWNLZXlUb2tlbj0xNmZjMTNhMjI2YzBlOTUxXV2YAVN5c3RlbS5Db2xsZWN0aW9ucy5HZW5lcmljLkxpc3RgMVtbQXBsb3Jpcy5CYXNlLk9iamVjdHMuRGF0YU9iamVjdCwgQXBsb3Jpcy5CYXNlLCBWZXJzaW9uPTQuMS4wLjE2NDQ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S4wLjE2NDQsIEN1bHR1cmU9bmV1dHJhbCwgUHVibGljS2V5VG9rZW49MTZmYzEzYTIyNmMwZTk1MV1dAwAAAAoJUQAAAAlSAAAACQEAAAAJAQAAAAlTAAAABQwAAACgAUFwbG9yaXMuQmFzZS5PYmplY3RzLkRhdGFPYmplY3RDb2xsZWN0aW9uYDFbW0FwbG9yaXMuQ2hhcnQuQ2hhcnREYXRhR3JvdXAsIEFwbG9yaXMuQ2hhcnQsIFZlcnNpb249NC4xLjAuMTY0NCwgQ3VsdHVyZT1uZXV0cmFsLCBQdWJsaWNLZXlUb2tlbj0xNmZjMTNhMjI2YzBlOTUxXV0GAAAAC21Db2xsZWN0aW9uBW1MaXN0GERhdGFPYmplY3QrbUNoaWxkT2JqZWN0cxJEYXRhT2JqZWN0K21QYXJlbnQVRGF0YU9iamVjdCttQ29udGFpbmVyGURhdGFPYmplY3QrbVZpc3VhbE9iamVjdHMEAwMEBAOeAUFwbG9yaXMuQmFzZS5PYmplY3RzLlNvcnRhYmxlQ29sbGVjdGlvbmAxW1tBcGxvcmlzLkNoYXJ0LkNoYXJ0RGF0YUdyb3VwLCBBcGxvcmlzLkNoYXJ0LCBWZXJzaW9uPTQuMS4wLjE2NDQsIEN1bHR1cmU9bmV1dHJhbCwgUHVibGljS2V5VG9rZW49MTZmYzEzYTIyNmMwZTk1MV1dAwAAAJYBU3lzdGVtLkNvbGxlY3Rpb25zLkdlbmVyaWMuTGlzdGAxW1tBcGxvcmlzLkNoYXJ0LkNoYXJ0RGF0YUdyb3VwLCBBcGxvcmlzLkNoYXJ0LCBWZXJzaW9uPTQuMS4wLjE2NDQsIEN1bHR1cmU9bmV1dHJhbCwgUHVibGljS2V5VG9rZW49MTZmYzEzYTIyNmMwZTk1MV1dmAFTeXN0ZW0uQ29sbGVjdGlvbnMuR2VuZXJpYy5MaXN0YDFbW0FwbG9yaXMuQmFzZS5PYmplY3RzLkRhdGFPYmplY3QsIEFwbG9yaXMuQmFzZSwgVmVyc2lvbj00LjEuMC4xNjQ0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EuMC4xNjQ0LCBDdWx0dXJlPW5ldXRyYWwsIFB1YmxpY0tleVRva2VuPTE2ZmMxM2EyMjZjMGU5NTFdXQMAAAAKCVQAAAAJVQAAAAkBAAAACQEAAAAJVgAAAAUNAAAAmgFBcGxvcmlzLkJhc2UuT2JqZWN0cy5EYXRhT2JqZWN0Q29sbGVjdGlvbmAxW1tBcGxvcmlzLkNoYXJ0LkRlbHRhQmFyLCBBcGxvcmlzLkNoYXJ0LCBWZXJzaW9uPTQuMS4wLjE2NDQ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EZWx0YUJhciwgQXBsb3Jpcy5DaGFydCwgVmVyc2lvbj00LjEuMC4xNjQ0LCBDdWx0dXJlPW5ldXRyYWwsIFB1YmxpY0tleVRva2VuPTE2ZmMxM2EyMjZjMGU5NTFdXQMAAACQAVN5c3RlbS5Db2xsZWN0aW9ucy5HZW5lcmljLkxpc3RgMVtbQXBsb3Jpcy5DaGFydC5EZWx0YUJhciwgQXBsb3Jpcy5DaGFydCwgVmVyc2lvbj00LjEuMC4xNjQ0LCBDdWx0dXJlPW5ldXRyYWwsIFB1YmxpY0tleVRva2VuPTE2ZmMxM2EyMjZjMGU5NTFdXZgBU3lzdGVtLkNvbGxlY3Rpb25zLkdlbmVyaWMuTGlzdGAxW1tBcGxvcmlzLkJhc2UuT2JqZWN0cy5EYXRhT2JqZWN0LCBBcGxvcmlzLkJhc2UsIFZlcnNpb249NC4xLjAuMTY0N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xLjAuMTY0NCwgQ3VsdHVyZT1uZXV0cmFsLCBQdWJsaWNLZXlUb2tlbj0xNmZjMTNhMjI2YzBlOTUxXV0DAAAACglXAAAACVgAAAAJAQAAAAkBAAAACVkAAAAFDgAAAJ0BQXBsb3Jpcy5CYXNlLk9iamVjdHMuRGF0YU9iamVjdENvbGxlY3Rpb25gMVtbQXBsb3Jpcy5DaGFydC5EZWx0YUJyaWRnZSwgQXBsb3Jpcy5DaGFydCwgVmVyc2lvbj00LjEuMC4xNjQ0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GVsdGFCcmlkZ2UsIEFwbG9yaXMuQ2hhcnQsIFZlcnNpb249NC4xLjAuMTY0NCwgQ3VsdHVyZT1uZXV0cmFsLCBQdWJsaWNLZXlUb2tlbj0xNmZjMTNhMjI2YzBlOTUxXV0DAAAAkwFTeXN0ZW0uQ29sbGVjdGlvbnMuR2VuZXJpYy5MaXN0YDFbW0FwbG9yaXMuQ2hhcnQuRGVsdGFCcmlkZ2UsIEFwbG9yaXMuQ2hhcnQsIFZlcnNpb249NC4xLjAuMTY0NCwgQ3VsdHVyZT1uZXV0cmFsLCBQdWJsaWNLZXlUb2tlbj0xNmZjMTNhMjI2YzBlOTUxXV2YAVN5c3RlbS5Db2xsZWN0aW9ucy5HZW5lcmljLkxpc3RgMVtbQXBsb3Jpcy5CYXNlLk9iamVjdHMuRGF0YU9iamVjdCwgQXBsb3Jpcy5CYXNlLCBWZXJzaW9uPTQuMS4wLjE2NDQ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S4wLjE2NDQsIEN1bHR1cmU9bmV1dHJhbCwgUHVibGljS2V5VG9rZW49MTZmYzEzYTIyNmMwZTk1MV1dAwAAAAoJWgAAAAlbAAAACQEAAAAJAQAAAAlcAAAABQ8AAACdAUFwbG9yaXMuQmFzZS5PYmplY3RzLkRhdGFPYmplY3RDb2xsZWN0aW9uYDFbW0FwbG9yaXMuQ2hhcnQuR3Jvd3RoQXJyb3csIEFwbG9yaXMuQ2hhcnQsIFZlcnNpb249NC4xLjAuMTY0NCwgQ3VsdHVyZT1uZXV0cmFsLCBQdWJsaWNLZXlUb2tlbj0xNmZjMTNhMjI2YzBlOTUxXV0GAAAAC21Db2xsZWN0aW9uBW1MaXN0GERhdGFPYmplY3QrbUNoaWxkT2JqZWN0cxJEYXRhT2JqZWN0K21QYXJlbnQVRGF0YU9iamVjdCttQ29udGFpbmVyGURhdGFPYmplY3QrbVZpc3VhbE9iamVjdHMEAwMEBAObAUFwbG9yaXMuQmFzZS5PYmplY3RzLlNvcnRhYmxlQ29sbGVjdGlvbmAxW1tBcGxvcmlzLkNoYXJ0Lkdyb3d0aEFycm93LCBBcGxvcmlzLkNoYXJ0LCBWZXJzaW9uPTQuMS4wLjE2NDQsIEN1bHR1cmU9bmV1dHJhbCwgUHVibGljS2V5VG9rZW49MTZmYzEzYTIyNmMwZTk1MV1dAwAAAJMBU3lzdGVtLkNvbGxlY3Rpb25zLkdlbmVyaWMuTGlzdGAxW1tBcGxvcmlzLkNoYXJ0Lkdyb3d0aEFycm93LCBBcGxvcmlzLkNoYXJ0LCBWZXJzaW9uPTQuMS4wLjE2NDQsIEN1bHR1cmU9bmV1dHJhbCwgUHVibGljS2V5VG9rZW49MTZmYzEzYTIyNmMwZTk1MV1dmAFTeXN0ZW0uQ29sbGVjdGlvbnMuR2VuZXJpYy5MaXN0YDFbW0FwbG9yaXMuQmFzZS5PYmplY3RzLkRhdGFPYmplY3QsIEFwbG9yaXMuQmFzZSwgVmVyc2lvbj00LjEuMC4xNjQ0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EuMC4xNjQ0LCBDdWx0dXJlPW5ldXRyYWwsIFB1YmxpY0tleVRva2VuPTE2ZmMxM2EyMjZjMGU5NTFdXQMAAAAKCV0AAAAJXgAAAAkBAAAACQEAAAAJXwAAAAUQAAAApAFBcGxvcmlzLkJhc2UuT2JqZWN0cy5EYXRhT2JqZWN0Q29sbGVjdGlvbmAxW1tBcGxvcmlzLkNoYXJ0LldhdGVyZmFsbENvbm5lY3RvciwgQXBsb3Jpcy5DaGFydCwgVmVyc2lvbj00LjEuMC4xNjQ0LCBDdWx0dXJlPW5ldXRyYWwsIFB1YmxpY0tleVRva2VuPTE2ZmMxM2EyMjZjMGU5NTFdXQYAAAALbUNvbGxlY3Rpb24FbUxpc3QYRGF0YU9iamVjdCttQ2hpbGRPYmplY3RzEkRhdGFPYmplY3QrbVBhcmVudBVEYXRhT2JqZWN0K21Db250YWluZXIZRGF0YU9iamVjdCttVmlzdWFsT2JqZWN0cwQDAwQEA6IBQXBsb3Jpcy5CYXNlLk9iamVjdHMuU29ydGFibGVDb2xsZWN0aW9uYDFbW0FwbG9yaXMuQ2hhcnQuV2F0ZXJmYWxsQ29ubmVjdG9yLCBBcGxvcmlzLkNoYXJ0LCBWZXJzaW9uPTQuMS4wLjE2NDQsIEN1bHR1cmU9bmV1dHJhbCwgUHVibGljS2V5VG9rZW49MTZmYzEzYTIyNmMwZTk1MV1dAwAAAJoBU3lzdGVtLkNvbGxlY3Rpb25zLkdlbmVyaWMuTGlzdGAxW1tBcGxvcmlzLkNoYXJ0LldhdGVyZmFsbENvbm5lY3RvciwgQXBsb3Jpcy5DaGFydCwgVmVyc2lvbj00LjEuMC4xNjQ0LCBDdWx0dXJlPW5ldXRyYWwsIFB1YmxpY0tleVRva2VuPTE2ZmMxM2EyMjZjMGU5NTFdXZgBU3lzdGVtLkNvbGxlY3Rpb25zLkdlbmVyaWMuTGlzdGAxW1tBcGxvcmlzLkJhc2UuT2JqZWN0cy5EYXRhT2JqZWN0LCBBcGxvcmlzLkJhc2UsIFZlcnNpb249NC4xLjAuMTY0N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xLjAuMTY0NCwgQ3VsdHVyZT1uZXV0cmFsLCBQdWJsaWNLZXlUb2tlbj0xNmZjMTNhMjI2YzBlOTUxXV0DAAAACglgAAAACWEAAAAJAQAAAAkBAAAACWIAAAAFEQAAAKIBQXBsb3Jpcy5CYXNlLk9iamVjdHMuRGF0YU9iamVjdENvbGxlY3Rpb25gMVtbQXBsb3Jpcy5DaGFydC5FbGVtZW50Q29ubmVjdG9yLCBBcGxvcmlzLkNoYXJ0LCBWZXJzaW9uPTQuMS4wLjE2NDQ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FbGVtZW50Q29ubmVjdG9yLCBBcGxvcmlzLkNoYXJ0LCBWZXJzaW9uPTQuMS4wLjE2NDQsIEN1bHR1cmU9bmV1dHJhbCwgUHVibGljS2V5VG9rZW49MTZmYzEzYTIyNmMwZTk1MV1dAwAAAJgBU3lzdGVtLkNvbGxlY3Rpb25zLkdlbmVyaWMuTGlzdGAxW1tBcGxvcmlzLkNoYXJ0LkVsZW1lbnRDb25uZWN0b3IsIEFwbG9yaXMuQ2hhcnQsIFZlcnNpb249NC4xLjAuMTY0NCwgQ3VsdHVyZT1uZXV0cmFsLCBQdWJsaWNLZXlUb2tlbj0xNmZjMTNhMjI2YzBlOTUxXV2YAVN5c3RlbS5Db2xsZWN0aW9ucy5HZW5lcmljLkxpc3RgMVtbQXBsb3Jpcy5CYXNlLk9iamVjdHMuRGF0YU9iamVjdCwgQXBsb3Jpcy5CYXNlLCBWZXJzaW9uPTQuMS4wLjE2NDQ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S4wLjE2NDQsIEN1bHR1cmU9bmV1dHJhbCwgUHVibGljS2V5VG9rZW49MTZmYzEzYTIyNmMwZTk1MV1dAwAAAAoJYwAAAAlkAAAACQEAAAAJAQAAAAllAAAABRcAAAAVQXBsb3Jpcy5CYXNlLlVJLkxhYmVsHQAAAA9tQW5jaG9yUG9zaXRpb24LbUFuY2hvck1vZGUPbUFkZElubmVyTWFyZ2luFm1PZmZzZXREaXJlY3Rpb25BbmNob3IXbU9mZnNldE9ydGhvZ29uYWxBbmNob3ILbVRleHRGb3JtYXQJbVJvdGF0aW9uCm1CYWNrQ29sb3INbVVzZUJhY2tDb2xvcg5tVXNlQmFja2dyb3VuZBFtQ3VzdG9tQmFja2dyb3VuZA5tTGluZUFsaWdubWVudAltVGV4dFNpemUPbUxhYmVsUmVjdGFuZ2xlFW1Jbm5lck1hcmdpbkxlZnRSaWdodAVtVGV4dAptVmFyaWFibGVzDW1WYXJpYWJsZUxpc3QO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AAAAEAAQAAAAEBAQAAQMDAQAAAAAHAgAAAwAVU3lzdGVtLkRyYXdpbmcuUG9pbnRGBAAAABdBcGxvcmlzLkJhc2UuQW5jaG9yTW9kZQMAAAABCwsfQXBsb3Jpcy5CYXNlLk9iamVjdHMuVGV4dEZvcm1hdAMAAAALGkFwbG9yaXMuQmFzZS5PYmplY3RzLkNvbG9yAwAAAAEBASpBcGxvcmlzLkJhc2UuVUkuTGFiZWwrTGluZUFsaWdubWVudE9wdGlvbnMDAAAAFFN5c3RlbS5EcmF3aW5nLlNpemVGBAAAABlTeXN0ZW0uRHJhd2luZy5SZWN0YW5nbGVGBAAAAAugAVN5c3RlbS5Db2xsZWN0aW9ucy5PYmplY3RNb2RlbC5Db2xsZWN0aW9uYDFbW0FwbG9yaXMuQmFzZS5PYmplY3RzLlZhcmlhYmxlLCBBcGxvcmlzLkJhc2UsIFZlcnNpb249NC4xLjAuMTY0NCwgQ3VsdHVyZT1uZXV0cmFsLCBQdWJsaWNLZXlUb2tlbj0xNmZjMTNhMjI2YzBlOTUxXV2WAVN5c3RlbS5Db2xsZWN0aW9ucy5HZW5lcmljLkxpc3RgMVtbQXBsb3Jpcy5CYXNlLk9iamVjdHMuVmFyaWFibGUsIEFwbG9yaXMuQmFzZSwgVmVyc2lvbj00LjEuMC4xNjQ0LCBDdWx0dXJlPW5ldXRyYWwsIFB1YmxpY0tleVRva2VuPTE2ZmMxM2EyMjZjMGU5NTFdXQgIAQEIAQEPU3lzdGVtLkludFB0cltdAQMAAAABZgAAACQAAABKEjZECAAuQQVnAAAAF0FwbG9yaXMuQmFzZS5BbmNob3JNb2RlAQAAAAd2YWx1ZV9fAAgDAAAABAAAAAAAAAAAAAAAAAloAAAAAAAAAAlpAAAAAAAABWoAAAAqQXBsb3Jpcy5CYXNlLlVJLkxhYmVsK0xpbmVBbGlnbm1lbnRPcHRpb25zAQAAAAd2YWx1ZV9fAAgDAAAAAAAAAAVrAAAAFFN5c3RlbS5EcmF3aW5nLlNpemVGAgAAAAV3aWR0aAZoZWlnaHQAAAsLBAAAAAAAhkIAAKBBAWwAAAAUAAAAAAAAAAAAAAAAAAAAAAAAAF662T8GbQAAAA1Ub3RhbCA9IDIsMDAwCgluAAAABm8AAAAIVG90YWwgPSAMAwAA/////wABCglwAAAAAQAKAAUY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hQXBsb3Jpcy5DaGFydC5Db2x1bW5PcmllbnRlZENoYXJ0AgAAACFBcGxvcmlzLkNoYXJ0LkNvbHVtbk9yaWVudGVkQ2hhcnQCAAAACAEICAEICAgCAAAACQEAAAAJAQAAAAAAAAAABnEAAAABLgMAAAAGcgAAAAEsBnMAAAABLQZ0AAAAASsBAAAAAAoKBnUAAAAITS9kL3l5eXkAAAAACgAAAAAAAAAABxkAAAAAAQAAAAQAAAAEFVN5c3RlbS5EcmF3aW5nLlBvaW50RgQAAAABdgAAACQAAABKEjZECAAuQQF3AAAAJAAAAEoSNUQQANxAAXgAAAAkAAAAShI2RLpNE0MBeQAAACQAAABKEjVEuk0XQwcaAAAAAAEAAAAEAAAABBdBcGxvcmlzLkJhc2UuQW5jaG9yTW9kZQMAAAABegAAAGcAAAAEAAAAAXsAAABnAAAACAAAAAF8AAAAZwAAAAQAAAABfQAAAGcAAAAGAAAABxsAAAAAAQAAAAEAAAAEGEFwbG9yaXMuQ2hhcnQuQXhpc051bWJlcgIAAAAFfgAAABhBcGxvcmlzLkNoYXJ0LkF4aXNOdW1iZXIBAAAAB3ZhbHVlX18ACAIAAAAAAAAADxwAAAAVAAAACAEAAAACAAAAAwAAAAQAAAAFAAAABgAAAAcAAAAIAAAACQAAAAoAAAALAAAADAAAAA0AAAAOAAAADwAAABAAAAARAAAAEgAAABMAAAAUAAAAFQAAAAUeAAAAGkFwbG9yaXMuQmFzZS5VSS5WaXN1YWxSZWN0FAAAAAttU3RhcnRQb2ludAltRW5kUG9pbnQLbUxpbmVGb3JtYXQLbUZpbGxGb3JtYXQJbVJvdGF0aW9uEm1SZWN0YW5nbGVQcm92aWRlcgxtUGFpbnRPZmZzZXQSbVBhaW50U2l6ZU92ZXJyaWRlDm1FeHRyYVJvdGF0aW9uDm1MYXN0UGFpbnRSZWN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QABAQEAAQAAAAABwIAAAMAFVN5c3RlbS5EcmF3aW5nLlBvaW50RgQAAAAVU3lzdGVtLkRyYXdpbmcuUG9pbnRGBAAAAB9BcGxvcmlzLkJhc2UuT2JqZWN0cy5MaW5lRm9ybWF0AwAAAB9BcGxvcmlzLkJhc2UuT2JqZWN0cy5GaWxsRm9ybWF0AwAAAAsqQXBsb3Jpcy5CYXNlLlVJLklSZWN0YW5nbGVQb3NpdGlvblByb3ZpZGVyAwAAABRTeXN0ZW0uRHJhd2luZy5TaXplRgQAAAAUU3lzdGVtLkRyYXdpbmcuU2l6ZUYEAAAACxlTeXN0ZW0uRHJhd2luZy5SZWN0YW5nbGVGBAAAAAgIAQEIAQEPU3lzdGVtLkludFB0cltdAQMAAAABfwAAACQAAAAAAEhCCAAuQQGAAAAAJAAAAEoSNUS6TRNDCYEAAAAJggAAAAAAAAAKAYMAAABrAAAAAAAAAAAAAAABhAAAAGsAAAAAAAAAAAAAAAAAAAABhQAAABQAAAAAAAAAAAAAAAAAAAAAAAAAFAAAAP////8BAQoJhgAAAAEACgAPIQAAAMgqAAACUEsDBBQABgAIAAAAIQBIZhxhZgEAABAFAAATAAgCW0NvbnRlbnRfVHlwZXNdLnhtbCCiBAIoo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lNFOwyAUhu9NfIeGW9OyeWGMWbeLqZe6xPkACKcrGQXCYXN7e0/ZXIxZWs16U9LC//8fpxwms11jsi0E1M6WbFyMWAZWOqXtqmTvy+f8nmUYhVXCOAsl2wOy2fT6arLce8CM1BZLVsfoHzhHWUMjsHAeLM1ULjQi0mtYcS/kWqyA345Gd1w6G8HGPLYebDp5hEpsTMyedvT5QEJyls0P69qokgnvjZYiEihvZ/lZXQCDHcKtVb/o8iNZQcpkjrX2eHNMeKXSBK0gW4gQX0RDHHxn+KcL6w/n1kU35pk0V1VagnJy01AFCvQBhMIaIDamSGPRCG3/kJ8WI0/DeGCQdn/JuIcj0v8Gnp6XIySbnkCMewM4dNmTaV9yLQKotxioMwYH+OndwyGFkfOajsjARTj5duXTuV0E55E6OMD/Ab5brVXnnowgRA2dzXZKpPa/eMfQ3i8K1Jlsnu6z6RcAAAD//wMAUEsDBBQABgAIAAAAIQBQfE7B8wAAAEwCAAALAAgCX3JlbHMvLnJlbHM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LPSgMxEIfvgu8Q5t6dbQURabYXEXoTqQ8wJrN/2E0mJFG3b28QFBdq9eAxM5NvvvzIdje7Sb1yTIN4DeuqBsXeiB18p+HpcL+6AZUyeUuTeNZw5AS75vJi+8gT5XIp9UNIqlB80tDnHG4Rk+nZUaoksC+dVqKjXI6xw0BmpI5xU9fXGL8zoFkw1d5qiHu7BnU4hrL5d7a07WD4TsyLY59PrMDlRCFT7DhrmCd8kzg+i4xVEQY87bL5u8vP70THmSxlQiORVyGWlGIeSq5fOlbMQymnj4lzQlf/GQ7Pmb1le16JQvg0wsUfaN4BAAD//wMAUEsDBBQABgAIAAAAIQCW1flzAgEAAD8DAAAaAAgBeGwvX3JlbHMvd29ya2Jvb2sueG1sLnJlbHM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skt1qhDAQhe8LfYcw9zW6/aGUjXvRUtjb1j5AiKOR1UQy0x/fvsGCurDYG28CZ4ac880w+8NP14ovDNR4pyBLUhDojC8bVyv4KF5vHkEQa1fq1jtUMCDBIb++2r9hqzl+Itv0JKKLIwWWuX+SkozFTlPie3SxU/nQaY4y1LLX5qRrlLs0fZBh6QH5mac4lgrCsbwFUQx9TP7f21dVY/DFm88OHV+IkMRDGwcQhQ41soI/nURGkJfj7zaNtzpg+c4hbndJsSyvwdxvCWN0a56tbty8jqm0BpFtCfHtw4ksIs8QU4nk2MnWYHZbwnC8WpxBRinHd2KQZ2ef/wIAAP//AwBQSwMEFAAGAAgAAAAhAHF9PfKcAgAAQQUAAA8AAAB4bC93b3JrYm9vay54bWykVF1vmzAUfZ+0/4D8TgyEr0QhVZoPLdI0VVPXPk6OccCKP5gxCdW0/74LjKZbX7qNB+xrm+Nzz7mXxU0rhXNmpuZaZcifeMhhiuqcqyJDX+53boqc2hKVE6EVy9ATq9HN8v27xUWb00HrkwMAqs5QaW01x7imJZOknuiKKdg5aiOJhdAUuK4MI3ldMmalwIHnxVgSrtCAMDdvwdDHI6dso2kjmbIDiGGCWKBfl7yqRzRJ3wIniTk1lUu1rADiwAW3Tz0ociSd7wulDTkISLv1oxEZpq+gJadG1/poJwCFB5Kv8vU97PtDysvFkQv2MMjukKr6RGR3i0COILXd5tyyPEMxhPrCrgtAwjTVbcMF7AaJ78UIL5+tuDMQAO+VsMwoYtlaKwsy/RL4fyXpsdelBgOcz+xbww0D3ztllgt4Ezonh/qO2NJpjMgQPhODj1rkkCVWLT6l4dcq8XLfK4Knc1ycEzVTypMePIXC99jKKmJpHFI/mcAcvxCcvHbzLyQntFMJgzID+2H+p0rLRVfOD5xd6qukXei0j1zl+pKhNI2hP57GMApTCC/95iPPbQkNlEJdj2sfGC9KC4t+BN91FF7c0PcB3NSPjur9X1VCG15viCXQdV2j7MFnH0yfc5iYfe73MOO3lAh6Z5xu6A9GICWcplrRxhhwfg07GervZq39WNvlAkbwh2foezLbReEsiV1/s4rcMPZT99YPEzdcb7bh7Syarqbpj6sJ4b9VvTfDs7HoWz+cj/8N4J2zI2mE3UtSsE0FlKZBEid9hsDyN6pRMN1Gm6kbRLupu4q2nuvH08CNw10QhesgCKPgmaps38ZUEopZS1n/L0pHjrKdrwwt9xtnJ0gBBR5cCcHxQUQ8ZrH8CQAA//8DAFBLAwQUAAYACAAAACEADQFlKf8BAAB+BQAAFAAAAHhsL3NoYXJlZFN0cmluZ3MueG1sdJTRb9owEMbfJ+1/sPLSpxJgA01TSNU2oqN0FME6aY9Hck0sHDuznbLy1+8g0ib5wmN+57O/fPfZyc2fWok3tE4aPYtGg2EkUOemkLqcRS8/5tdfIuE86AKU0TiL3tFFN+nHD4lzXlCvdrOo8r75Gscur7AGNzANaqq8GluDp09bxq6xCIWrEH2t4vFwOI1rkDoSuWm1n0XTSSRaLX+3eN+ByTBKEyfTxKe3rfNWQhL7NIlPqMN3qErZ1gxb6WlnhltVQs8u90fMK7HBpt0pmYddGeoa7D7Ec6kVOcKwBZ1jSB+QbNDvDFtEvvhbq0kmW7zwoBhcoa/QnoS4cPO16dO3Nta3Jahw9caQQG7wVpk32Pfwpsff7QELZK5vD9IfO43hoePhaCIa07QKPEUvLP9CsNxfxMLUYg3WMzd+KoDaCUoF6DLsfFku1iFbfN88x6v59i4s3HoPOZt5BgcmMiPbXCXWaBqFrl8XZUVfKK3Ofw5KzK3Rnsl4zVhmjCKTRZ+UhS4G4oEytWdhmMsC3fF6ma2YB49mt5PsV5+wBLEylgX8bLyge02Kz6MIBT7BQVAexSNdWcnT3Rl1dcGOLm/inyu9Y14ar3DHHoMufiLD2uSWHp1QGAXR0bHnQV06//l0ncLGq9GUo88cTTj6xNH4P4rp/Uz/AgAA//8DAFBLAwQUAAYACAAAACEA3AYHvnoGAADZGwAAEwAAAHhsL3RoZW1lL3RoZW1lMS54bWzsWctuGzcU3RfoPxCzT6ynYxmRA0uW7DZ2YthK2iypETXDiDMckJQd7foFBQqkRTcFuuuimwDtN6Vo04/oJTmSSIvyI3bQV2zAljiH917ex+El5+GjVxlDZ0RIyvN2VL1fiRDJYz6iedKOng3697YiJBXOR5jxnLSjGZHRo51PP3mIt1VKMoJgfi63cTtKlSq2NzZkDMNY3ucFyeHZmIsMK/gqko2RwOcgN2MbtUplcyPDNI9QjjMQ+3Q8pjFBAy0y2pkL7zH4miupB2ImTrVo4s0w2NGkqhFyJrtMoDPM2hHoGfHzAXmlIsSwVPCgHVXMT7Sx83ADb5eTmFoz15nXNz/lvHLCaFIzOkUyXCit9hutB3sL+QbA1Cqu1+t1e9WFPAPAcQwrtba4Mhv9rWpnLtMB2Y+rsruVZqXh4x359RWbW51Op9kqbbFCDch+bKzgtyqbjd2ahzcgi2+u4Bud3W5308MbkMVvruD7D1qbDR9vQCmj+WQFrQPa75fSF5AxZwdB+BbAtyolfImCbFhkl1Yx5rlal2sZfslFHwAayLCiOVKzgoxxDFncxdlQUByhAudcwkClVulX6vBX/zbMp4ZWj7cJdubZoViuDGlLkIwFLVQ7+hykRg7kxRTtc5XSGB3SJFVWiDfjAOeJO+PdT9/8+cNX6I9ffnz3+tswXrr4PZInX1KcX6YACmzpgLffvfnt1zdvv//6959fB+TvCjx04QOaEYmekHN0wjNYnPGMvwIyFDebMUgx9WbgFGQHRPfAdS7wyQyzEK4DTnBxzwVwSwi4P33p2XqaiqmiAc2P08wDHnHOOlwEHfBY63I8PJjmSVi5mLq4E4zPQrq7OPdC3JsWQKqQs6u+76bEM/OY4VzhhOREIf2MTwgJTHtBqefXIxoLLvlYoRcUdTANumRAh14iLScd0AziMgsZCKH2fHP0HHU4C616j5z5SCgMzALGDwjz3LiPpwpnIZEDnDHX4YdYpSEjT2cidnE9qSDSCWEc9UZEytCcpwLW6wT9MQY6C4b9iM0yHykUnYRkHmLOvdrmk26KsyJoM81TF/uZnECKYnTMVQh+xP0K0d8hDsAb68L9nBIv3FcTwTOgONekZYLoJ1MRiOU+4X49ztgYE8MywPgekWc0v4zVGQVav8DqzQ/N6h+Qz8Oib8Pku7Dtherp4AJ/r8P9C1l7D0/zYwKFssqcH0n7I2lH/3nSXlfLd0/VS3YG4l5256ZXz9a26mPK2KmaMXIoTbcuYU8a9WHQHCPMWXJxdCtS+FgeDDxcIrCZgwRXX1CVnqa4gMa+ag6eiSxFJxIVXEK/b4bNEZhckG0OtRTaeXM+beqTi2UOidURH9nhuntCXYgx59XEnILniupawHWV1R/cTlnVWrXWbf7SqsY0Q4re0hZLhhiuLg0GF96EZgdBiwRe3oSLAm07nIEwIyPtd3t6n4dFq77TEMkUj0gZI73u1RhVTZDmuTJPo0CM9Gnzihg52lpa7C20XSdIrrrGGnXz6N0mSvMj9jJKum4vlCPL3eJkOTpvR61mrRmhGBftaAyHa/iYFRB1qftLzBK4oYqVsGl/ZTGbdF1GsxVOyyrcl1i/ryzY44FCSLWHZWpTwzwqU4Dl5irA2F9rglvvagE209/DivoWJMPfZgX40Q8tGY9JrNxgOyPmLsQASirlU0XEaTo6R0M2FScYwq9TFdYzohJuQQwj6C9woae9bR755FwWnXuNZnB2HLMixSXd6hKdV7KFmzpe2GC+WWuNebC2oO1mcTdfiin5O1qKm8b/s6Xo/QRuJeojHYEY7pMFRrpe2xEXKuXAQgXckvUFXKYZ7oBsgUtheAxJBbfa5r8gZ/q/rTkrw5S1vlk7oQkSFPYjlQpCjoGWTPZdIaxa7l1WJCsFmYxyzJWFNXtIzggbaA7c1Ht7hFJIdcMmJQ0Y3MX887+XFTRMdJPzT+18bDHftD3Q3YFtsez8a/YiDYf0na2gFdz7TE+1oINLNvYbbrWWsVZWXGtee6st4G4J7pQV5ERMRczsKxK9oQ74CXArgjcetr1CkNX3bOOBNEFaehxC42QHbTJpUbZhKbvbO2+j4F687HQXeqFK36fTvaGzF82Zr86rxcu7z5s5u/Sw52u30w24Gor2Yonq9mh+kDGBMe/W3NdffPgSAr0HLxqmTEn7CuEV3CTCKcO+qoDit8E1U3f+AgAA//8DAFBLAwQUAAYACAAAACEAq5q1obkCAADmBgAADQAAAHhsL3N0eWxlcy54bWy8VU1v2zAMvQ/YfxB0T21nSdcEtoulaYAC3RCgHbCrYsuOUH14ktzZG/rfR8lO7K4t1mHDLglJkRTfE0nH543g6J5qw5RMcHQSYkRlpnImywR/vt1MzjAylsiccCVpgltq8Hn69k1sbMvpzZ5SiyCFNAneW1stg8BkeyqIOVEVlXBSKC2IBVWXgak0JblxQYIH0zA8DQRhEncZliJ7TRJB9F1dTTIlKmLZjnFmW58LI5Etr0qpNNlxKLWJZiQ75PbKk/SCZVoZVdgTSBeoomAZfVrlIlgEkCmNCyWtQZmqpU3wFFK7G5Z3Un2TG3cEBPZeaWy+o3vCwRLhII0zxZVGFpiBwrxFEkE7jwvC2U4z51YQwXjbmafO4Mns/QQDaM4YuDq6av7HPf46A/cxzkfoO0MawytYquUGTlEv37YVwJTQMF25cPRb71KTNprORwGBvzCNd0rn0KAH3h3FnSmNOS0sEKJZuXf/VlXwu1PWwmumcc5IqSThjrJDRC8AnIxyfuOa+EvxCFVTIFmLjbBXeYJhHBzZBxGA9GKXr1Mg/6OgxRAUgfh8ECJVxVvXNv6WTgPXQVt53IP+gbNSCjoO2GplaWb97IaeujGqDuMI3gyo+3N4qCmex/kqcv5RNPpaA9StpgVr+gl6iXNX1gucd0jgUUbk+2kMHG/A1KgtHjXFkVbk5jbBn9xW47ABemrQrmbcMnkk6teALdUZPN0hAkoYRXRdfwyBKvJmaEr/sNbtNN+ux7oAZ04LUnN7ezxM8CB/pDmrBayp3mvL7pX1KRI8yNdudqJT1zy0sdcGFgv8o1qzBP+4XL1frC8308lZuDqbzN7R+WQxX60n89nFar3eLMJpePEwWrF/sWD9hwDaM5otDYc1rHuwffE3gy3BI6Ur37c+lA2DfgARDB+o9CcAAAD//wMAUEsDBBQABgAIAAAAIQCMjX1jBAoAAG84AAAYAAAAeGwvd29ya3NoZWV0cy9zaGVldDEueG1slNvJcuJKFgbgfUf0OxCsuhfFKE+E7RsFmuexe42xbBMFxg3U9PY3hQBn/r+qgVrca386mSnpZApxLN3/9Wu5aP0o15v56v2h3e/02q3yfbZ6nr+/PrSL3Pxy225tttP35+li9V4+tH+Xm/Zfj//8x/3P1frb5q0sty3Rw/vmof223X6Mut3N7K1cTjed1Uf5Lra8rNbL6Vb8un7tbj7W5fR512i56A56vevucjp/b9c9jNbn9LF6eZnPSn01+74s37d1J+tyMd2K/d+8zT82h96Ws3O6W07X375/fJmtlh+ii6f5Yr79veu03VrORs7r+2o9fVqI4/7V16azQ9+7X6j75Xy2Xm1WL9uO6K5b7ygf8133rit6erx/nosjqE57a12+PLS/9kfF4LrdfbzfnaD/zMufG+nn1nb6lJWLcrYtn0We2q3t6sMvX7aTcrF4aAcCqoQ8rVbfqpaOiOmJMTa7FtUY09l2/qOsox0RvfnfblSnP3L6Pe326mY3dPc49uP958+H/TB3uYzXrafpppysFv+dP2/fxM6IOfNcvky/L7bp6qddzl/ftkKvxNmqTtro+bdebmYiW2KfOoPqCGerhehT/Le1nFezTpzs6S/x/+vhrSYO5NBt53Y46A37A9HTZvu7ykK/at2tm+92VZ9up4/369XPlpg91WF9TKu52B8NxC+Nw4txq9hxFVyfyIf2RpyqH4/93n33R9X9PmTCIRChN3Ryp3ZicMiNGmE2dDJUQywOuVIjbI64ViN2SYcDhhC3YU9gHI9DBuo4fkMnt2pINVvh3MMBhxwB5zVqGAb2JOYQTd2RhCNgV9OGYfpqJ1lDiBqRN0TAnhQNIZ/zpCsm+HGWDy6Y5V+rYDXpA5jD40NItQTuOrewYxN5823nGg5eVzcPYG4b8ubr644GKTLl7cPbjgZZtuTtV51r6N5WN2uQPAc2w+CuvLkvDh22e8rOX3V60L0PZw5WUyBvvun04dBCZfRe5waOLVK2w8YYGl/hxFbS0u9oV3fSPwhOlePsde7gQDJlsH5nANtz2JkhzJFC3q5dd4af4ysTe3jJxK6CYWLDsOM6RAwuPnjqK7wGez5pCIELnt4QgpP8dIh5OsQ6HWKfDnFOH5HbEAJz0zs9kH/67AanQ8LTA0WndzduCIG1mpwOSU+HZKePKD99RMX/DVGWhLgbOvuO5msVDEsCrmjjOmS4uwer7oImB6gu/r3OECc/xhsIJoKFYCM4CC6Ch+AjBAghQoQQIyQIKUKGkCMUEiiJq25Zz70V/VoFQ+Lgfmhch0iJQ9ARDAQTwUKwERwEF8FD8BEChBAhQogREoQUITtAPZF78BGXY3whgZK460sSVwVD4mDgcR0iJQ5BRzAQTAQLwUZwEFwE7wD1CevDhPMxPkAIESKEGCFBSBEyhByhkEBJ3M0liauCIXFw6RvXIVLiEHQEA8FEsBBsBAfBRfAQfITgAFVqbzo99d+N8QU+FULsIEKIERKEFCFDyBEKCZRMVhWns6+dVTBkEm7yxnWIlEkEHcFAMBEsBBvBQXARPAQfITjA/qoGczTE+AghRkgQUoQMIUcoJFASd3dJ4qpgSBzcV4/rEClxCDqCgWAiWAg2goPgIngIPkKAECJECPEBzly1CXaQImQIOUIhgZLJqqR3/hrcRUMu4f57vI+RkkmikxgkJol1lHqRDOBroE0tRMFzN/c+98Ul8Uh8koAkJIlIYpKEJCXJSHKSQhY1nVV16exLar+hxgdfEMf7GDmddatP0SnGIDFJLBL7KPtbFazyUAuXxCPxSQKSkCQiiUkSkpQkI8lJClnUdFYFlfPTeSi/fNZBhlgD7NcxcjpRdIoxjrJfebfqnQbcUprUgUVikzgkLolH4pMEJCFJRBKTJCQpSUaSkxSyqNmtygPnZ7cuJojFd6xyYf1t3K9j5Oyi6BRjkJgkFolN4pC4JB6JTxKQhCQRSUySHKX5piqlFhlJTlLIoqazKhGcn866oKCkE4s4faxCTEh0EoPEJLFIbBKHxCXxSHySgCQ8ypl3QBF1EZMkJClJRpKTFLKo+a0qCefnt647KPnFWk/1l1NxaywvVxSdYgwSk8QisUkcEpfEI/FJApLwKM01mohaxCQJSUqSkeQkhSxqOqv6wvnprKsRSjqxAtRXKy0afImbHLdXfxivirI6iUFiklgkNolD4pJ4JD5JQBKSRCQxSUKSkmQkOUkhi5rOqshwfjrrkoSSTqwL9eXqinieAZ8ZwDKHfmxwyK9BYpJYJDaJQ+KSeCQ+SUASkkQkMUlCkpJkJDlJIYuazarycH426zqFkk2sDfWxuDEh0UkMEpPEIrFJHBKXxCPxSQKSkCQiiUkSkvQozdfsjFrkJIUsajqr8sP56ayLFUo6sWLUxwrHhEQnMUhMEovEJnFIXBKPxCcJSEKS6Cj7L8XqZSimBglJSpKR5CSFLEo2BxfVjHbRas1oiDWjfYx0I0Sikxgk5lHO+p5qUQc2iUPikngkPklAEpJEJDFJQpKSZCQ5SSGLmt2LSkjV03f4hBeWkPYxcnaphEQxBolJYpHYJA6Je5T9itLUagaUFT3qwCcJSEKSiCQmSUhSkowkJylkUbN7UUVpwBUljZ4qo4rSvpVUICQxSEwSi8QmcY6y/9iCuedSC4/EJwlIQpKIJCZJSFKSjCQnKWRR03lRCWnAJSQNn6Xax8iLlUpIFGOQmCQWiU3iHGWfTvigcKmFR+KTBCQhSUQSkyQkKUlGkpMUsqjpvKiENOASEj52Od7HyOnEopJOMQaJSWKR2CQOiUvikfhHaX5iIaAWIUlEEpMkJClJRpKTFLKo6byoYrR7+l29UdKwYrSPkdNJFaNjzOEmSH4i9O4OlpRBXZokFolN4pC4JB6JTxKQhCQRSUySkKQkGUlOUsiiZveiApJ44wNvlDQsIO1jhuIlhZfH/pesCP411kbjwdW/77svdTbxwb1JQ5uJNprIba7xYb+GNro20uU2N/C5YDS0MbSRmD2f+3ZDz3x/FsQOx2NqIzG//tzGahjH0kZiBkpt4EPebmhjayMxRz/b3IqXkOR/+M5EQxeONhKTWupiCM/XqN/E3IYuXG0kVoHUBQzrNbTxtJFYJ1Ib+OrrN7TxtZFYSX9uEzS0CbSRWGtSG7gwhA1tQm0kVqPUBjIRNbSJtJFYr59toEnc0CTWRmJBS00G6iWMnoGX5tnur2Nv03X53K5ft0oG17v3rVqb+e5VqXpdJdpIXCGkIWCNpPJuyX3WvYgKX/UYLT9AzzM+00biOiONRA/V/2HvpZHoOftLmtQXrfolr/otqo/paxlM16/z901rIV4tq17XEtXMdf0+1+5n8dLZTsWny9Nqu10tD7+9iRf7SlG7Fs8Qt1svq9X28Ev1vtbxVcHHvwEAAP//AwBQSwMEFAAGAAgAAAAhAJc/eAk4AQAAFQIAABEACAFkb2NQcm9wcy9jb3JlLnhtbCCiBAEoo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yRX0vDMBTF3wW/Q8h7m7arQ0LbgcqeHApuKL6F5LYLNn9Iot2+vVk362Q+Xs65P865t1rsVI++wHlpdI3zNMMINDdC6q7Gm/UyucXIB6YF642GGu/B40VzfVVxS7lx8OyMBRckeBRJ2lNua7wNwVJCPN+CYj6NDh3F1jjFQhxdRyzjH6wDUmTZnCgITLDAyAGY2ImIT0jBJ6T9dP0IEJxADwp08CRPc/LrDeCU/3dhVM6cSoa9jZ1Occ/Zgh/Fyb3zcjIOw5AOszFGzJ+Tt9Xjy1g1kfpwKw64qQSn3AELxjUVOR/i4XrmwyreuJUg7vbNSnJnvGkDempbyQFtPLiKXBojdOxA1WkZxVj0WOJHep3dP6yXuCmyfJ5kN0lRrosZzUtalu+HIH8BMdvFI5tvAAAA//8DAFBLAwQUAAYACAAAACEAzrlAx84AAAAAAgAAEAAAAHhsL2NhbGNDaGFpbi54bWxk0d1KAzEQBeB7wXcIc2+z9qKUstkFq9Vq1artA4Ts2F3Iz5IEsW/fCFqEczMw34HDwNTtt7Pii2Magld0PalIsDehG/xB0X63upqTSFn7TtvgWdGRE7XN5UVttDXLXg9elAafFPU5jwspk+nZ6TQJI/uSfIbodC5rPMg0RtZd6pmzs3JaVTPpSgE1tRFR0e10RmIoR5CwP1P++ubsf7IHWYM8guxAViCvIO8gNyAvIG8gdyAPIPcgW5BnkCeQD5Dlf5Hn3zUnAAAA//8DAFBLAwQUAAYACAAAACEAXqT1AIsBAAANAwAAEAAIAWRvY1Byb3BzL2FwcC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ckk1v2zAMhu8D9h8M3Rs53QeGQFZRtBt6WLEASbszJ9OxUEUyRNZI9utH22jqrDvtxo9X5KNXMleHfSh6zORTrNRyUaoCo0u1j7tKPWy/XXxRBTHEGkKKWKkjkrqy79+ZdU4dZvZIhYyIVKmWuVtpTa7FPdBC2lE6Tcp7YEnzTqem8Q5vk3veY2R9WZafNR4YY431RXcaqKaJq57/d2id3MBHj9tjJ8DWXHdd8A5YbmnvvcuJUsPFPTgfOVFbfD04DEbPZUY4N+ies+ejLY2ep2bjIOCNrLANBEKjXwvmDmGwbw0+kzU9r3p0nHJB/rcYeKmKX0A4gFWqh+whsgAOsikZ49ARZ/sz5SdqEZmMFsFUHMO5dh77j3Y5CiQ4Fw4DJhBpnCNuPQekH80aMv+DeDknHhkm3gnnugspe7oFhjeQ471l3V8Lvvv4RA/dNskhfDHwvGg2LWSsxfOTwaeCuRPvchiG3LQQd1i/aN42hod/nH63XX5alB9KeclZzejXf2z/AAAA//8DAFBLAQItABQABgAIAAAAIQBIZhxhZgEAABAFAAATAAAAAAAAAAAAAAAAAAAAAABbQ29udGVudF9UeXBlc10ueG1sUEsBAi0AFAAGAAgAAAAhAFB8TsHzAAAATAIAAAsAAAAAAAAAAAAAAAAAnwMAAF9yZWxzLy5yZWxzUEsBAi0AFAAGAAgAAAAhAJbV+XMCAQAAPwMAABoAAAAAAAAAAAAAAAAAwwYAAHhsL19yZWxzL3dvcmtib29rLnhtbC5yZWxzUEsBAi0AFAAGAAgAAAAhAHF9PfKcAgAAQQUAAA8AAAAAAAAAAAAAAAAABQkAAHhsL3dvcmtib29rLnhtbFBLAQItABQABgAIAAAAIQANAWUp/wEAAH4FAAAUAAAAAAAAAAAAAAAAAM4LAAB4bC9zaGFyZWRTdHJpbmdzLnhtbFBLAQItABQABgAIAAAAIQDcBge+egYAANkbAAATAAAAAAAAAAAAAAAAAP8NAAB4bC90aGVtZS90aGVtZTEueG1sUEsBAi0AFAAGAAgAAAAhAKuataG5AgAA5gYAAA0AAAAAAAAAAAAAAAAAqhQAAHhsL3N0eWxlcy54bWxQSwECLQAUAAYACAAAACEAjI19YwQKAABvOAAAGAAAAAAAAAAAAAAAAACOFwAAeGwvd29ya3NoZWV0cy9zaGVldDEueG1sUEsBAi0AFAAGAAgAAAAhAJc/eAk4AQAAFQIAABEAAAAAAAAAAAAAAAAAyCEAAGRvY1Byb3BzL2NvcmUueG1sUEsBAi0AFAAGAAgAAAAhAM65QMfOAAAAAAIAABAAAAAAAAAAAAAAAAAANyQAAHhsL2NhbGNDaGFpbi54bWxQSwECLQAUAAYACAAAACEAXqT1AIsBAAANAwAAEAAAAAAAAAAAAAAAAAAzJQAAZG9jUHJvcHMvYXBwLnhtbFBLBQYAAAAACwALAL4CAAD0JwAAAAAPIgAAAAEAAAAIAgAAAAUm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CBAAABAEBAQsaQXBsb3Jpcy5CYXNlLk9iamVjdHMuQ29sb3IDAAAAAQEaQXBsb3Jpcy5CYXNlLk9iamVjdHMuQ29sb3IDAAAAAwAAAAoKAAAAAABAQQaHAAAAB0NhbGlicmkKCYgAAAABAAmJAAAABycAAAAAAQAAABEAAAAEFFN5c3RlbS5EcmF3aW5nLkNvbG9yBAAAAAWKAAAAFFN5c3RlbS5EcmF3aW5nLkNvbG9yBAAAAAV2YWx1ZQVzdGF0ZQprbm93bkNvbG9yBG5hbWUAAAABCQcHBAAAAAAAAAAAAAAAAAAAAAoBiwAAAIoAAAAAAAD//////wIAAAAKAYwAAACKAAAA//////////8CAAAACgGNAAAAigAAAH1JH///////AgAAAAoBjgAAAIoAAADh7O7//////wIAAAAKAY8AAACKAAAAjtTw//////8CAAAACgGQAAAAigAAAE+85///////AgAAAAoBkQAAAIoAAAAcm87//////wIAAAAKAZIAAACKAAAA2dnZ//////8CAAAACgGTAAAAigAAAK6urv//////AgAAAAoBlAAAAIoAAACJiYn//////wIAAAAKAZUAAACKAAAA/wAA//////8CAAAACgGWAAAAigAAAIAAgP//////AgAAAAoBlwAAAIoAAAAAAAD//////wIAAAAKAZgAAACKAAAA//////////8CAAAACgGZAAAAigAAAH1JH///////AgAAAAoBmgAAAIoAAADh7O7//////wIAAAAKBCgAAACYAVN5c3RlbS5Db2xsZWN0aW9ucy5HZW5lcmljLkxpc3RgMVtbQXBsb3Jpcy5CYXNlLk9iamVjdHMuRGF0YU9iamVjdCwgQXBsb3Jpcy5CYXNlLCBWZXJzaW9uPTQuMS4wLjE2NDQsIEN1bHR1cmU9bmV1dHJhbCwgUHVibGljS2V5VG9rZW49MTZmYzEzYTIyNmMwZTk1MV1dAwAAAAZfaXRlbXMFX3NpemUIX3ZlcnNpb24EAAAhQXBsb3Jpcy5CYXNlLk9iamVjdHMuRGF0YU9iamVjdFtdAwAAAAgICZsAAAAMAAAADAAAAAQpAAAAlQFTeXN0ZW0uQ29sbGVjdGlvbnMuR2VuZXJpYy5MaXN0YDFbW0FwbG9yaXMuQmFzZS5VSS5WaXN1YWxPYmplY3QsIEFwbG9yaXMuQmFzZSwgVmVyc2lvbj00LjEuMC4xNjQ0LCBDdWx0dXJlPW5ldXRyYWwsIFB1YmxpY0tleVRva2VuPTE2ZmMxM2EyMjZjMGU5NTFdXQMAAAAGX2l0ZW1zBV9zaXplCF92ZXJzaW9uBAAAHkFwbG9yaXMuQmFzZS5VSS5WaXN1YWxPYmplY3RbXQMAAAAICAmcAAAAAgAAAAIAAAAFKwAAAJsBQXBsb3Jpcy5CYXNlLk9iamVjdHMuRGF0YU9iamVjdENvbGxlY3Rpb25gMVtbQXBsb3Jpcy5DaGFydC5WYWx1ZUxpbmUsIEFwbG9yaXMuQ2hhcnQsIFZlcnNpb249NC4xLjAuMTY0NCwgQ3VsdHVyZT1uZXV0cmFsLCBQdWJsaWNLZXlUb2tlbj0xNmZjMTNhMjI2YzBlOTUxXV0GAAAAC21Db2xsZWN0aW9uBW1MaXN0GERhdGFPYmplY3QrbUNoaWxkT2JqZWN0cxJEYXRhT2JqZWN0K21QYXJlbnQVRGF0YU9iamVjdCttQ29udGFpbmVyGURhdGFPYmplY3QrbVZpc3VhbE9iamVjdHMEAwMEBAOZAUFwbG9yaXMuQmFzZS5PYmplY3RzLlNvcnRhYmxlQ29sbGVjdGlvbmAxW1tBcGxvcmlzLkNoYXJ0LlZhbHVlTGluZSwgQXBsb3Jpcy5DaGFydCwgVmVyc2lvbj00LjEuMC4xNjQ0LCBDdWx0dXJlPW5ldXRyYWwsIFB1YmxpY0tleVRva2VuPTE2ZmMxM2EyMjZjMGU5NTFdXQMAAACRAVN5c3RlbS5Db2xsZWN0aW9ucy5HZW5lcmljLkxpc3RgMVtbQXBsb3Jpcy5DaGFydC5WYWx1ZUxpbmUsIEFwbG9yaXMuQ2hhcnQsIFZlcnNpb249NC4xLjAuMTY0NCwgQ3VsdHVyZT1uZXV0cmFsLCBQdWJsaWNLZXlUb2tlbj0xNmZjMTNhMjI2YzBlOTUxXV2YAVN5c3RlbS5Db2xsZWN0aW9ucy5HZW5lcmljLkxpc3RgMVtbQXBsb3Jpcy5CYXNlLk9iamVjdHMuRGF0YU9iamVjdCwgQXBsb3Jpcy5CYXNlLCBWZXJzaW9uPTQuMS4wLjE2NDQ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S4wLjE2NDQsIEN1bHR1cmU9bmV1dHJhbCwgUHVibGljS2V5VG9rZW49MTZmYzEzYTIyNmMwZTk1MV1dAwAAAAoJnQAAAAmeAAAACQYAAAAJAQAAAAmfAAAABSwAAACbAUFwbG9yaXMuQmFzZS5PYmplY3RzLkRhdGFPYmplY3RDb2xsZWN0aW9uYDFbW0FwbG9yaXMuQ2hhcnQuQXhpc0JyZWFrLCBBcGxvcmlzLkNoYXJ0LCBWZXJzaW9uPTQuMS4wLjE2NDQ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BeGlzQnJlYWssIEFwbG9yaXMuQ2hhcnQsIFZlcnNpb249NC4xLjAuMTY0NCwgQ3VsdHVyZT1uZXV0cmFsLCBQdWJsaWNLZXlUb2tlbj0xNmZjMTNhMjI2YzBlOTUxXV0DAAAAkQFTeXN0ZW0uQ29sbGVjdGlvbnMuR2VuZXJpYy5MaXN0YDFbW0FwbG9yaXMuQ2hhcnQuQXhpc0JyZWFrLCBBcGxvcmlzLkNoYXJ0LCBWZXJzaW9uPTQuMS4wLjE2NDQsIEN1bHR1cmU9bmV1dHJhbCwgUHVibGljS2V5VG9rZW49MTZmYzEzYTIyNmMwZTk1MV1dmAFTeXN0ZW0uQ29sbGVjdGlvbnMuR2VuZXJpYy5MaXN0YDFbW0FwbG9yaXMuQmFzZS5PYmplY3RzLkRhdGFPYmplY3QsIEFwbG9yaXMuQmFzZSwgVmVyc2lvbj00LjEuMC4xNjQ0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EuMC4xNjQ0LCBDdWx0dXJlPW5ldXRyYWwsIFB1YmxpY0tleVRva2VuPTE2ZmMxM2EyMjZjMGU5NTFdXQMAAAAKCaAAAAAJoQAAAAkGAAAACQEAAAAJogAAAAUt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lQXBsb3Jpcy5DaGFydC5Db2x1bW5PcmllbnRlZENoYXJ0QXhpcwIAAAAhQXBsb3Jpcy5DaGFydC5Db2x1bW5PcmllbnRlZENoYXJ0AgAAAAgBCAgBCAgIAgAAAAkGAAAACQEAAAAAAAAAAAajAAAAAS4DAAAACXIAAAAGpAAAAAEtBqUAAAABKwEAAAAACgoJdQAAAAAAAAAKAAAAAAAAAAAFLg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GpgAAAAEuAwAAAAlyAAAABqcAAAABLQaoAAAAASsBAAAAAAoKCXUAAAAAAAAACgAAAAAAAAAABS8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EBAAIAACVBcGxvcmlzLkNoYXJ0LkNvbHVtbk9yaWVudGVkQ2hhcnRBeGlzAgAAACFBcGxvcmlzLkNoYXJ0LkNvbHVtbk9yaWVudGVkQ2hhcnQCAAAACAEICAEICAgCAAAACQYAAAAJAQAAAAAAAAAABqkAAAABLgMAAAAJcgAAAAaqAAAAAS0GqwAAAAErAQAAAAAKBqwAAAABJQl1AAAAAQAAAAoAAAAAAAAAAAUwAAAAmgFBcGxvcmlzLkJhc2UuT2JqZWN0cy5EYXRhT2JqZWN0Q29sbGVjdGlvbmAxW1tBcGxvcmlzLkNoYXJ0LlRpY2tNYXJrLCBBcGxvcmlzLkNoYXJ0LCBWZXJzaW9uPTQuMS4wLjE2NDQsIEN1bHR1cmU9bmV1dHJhbCwgUHVibGljS2V5VG9rZW49MTZmYzEzYTIyNmMwZTk1MV1dBgAAAAttQ29sbGVjdGlvbgVtTGlzdBhEYXRhT2JqZWN0K21DaGlsZE9iamVjdHMSRGF0YU9iamVjdCttUGFyZW50FURhdGFPYmplY3QrbUNvbnRhaW5lchlEYXRhT2JqZWN0K21WaXN1YWxPYmplY3RzBAMDBAQDmAFBcGxvcmlzLkJhc2UuT2JqZWN0cy5Tb3J0YWJsZUNvbGxlY3Rpb25gMVtbQXBsb3Jpcy5DaGFydC5UaWNrTWFyaywgQXBsb3Jpcy5DaGFydCwgVmVyc2lvbj00LjEuMC4xNjQ0LCBDdWx0dXJlPW5ldXRyYWwsIFB1YmxpY0tleVRva2VuPTE2ZmMxM2EyMjZjMGU5NTFdXQMAAACQAVN5c3RlbS5Db2xsZWN0aW9ucy5HZW5lcmljLkxpc3RgMVtbQXBsb3Jpcy5DaGFydC5UaWNrTWFyaywgQXBsb3Jpcy5DaGFydCwgVmVyc2lvbj00LjEuMC4xNjQ0LCBDdWx0dXJlPW5ldXRyYWwsIFB1YmxpY0tleVRva2VuPTE2ZmMxM2EyMjZjMGU5NTFdXZgBU3lzdGVtLkNvbGxlY3Rpb25zLkdlbmVyaWMuTGlzdGAxW1tBcGxvcmlzLkJhc2UuT2JqZWN0cy5EYXRhT2JqZWN0LCBBcGxvcmlzLkJhc2UsIFZlcnNpb249NC4xLjAuMTY0N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xLjAuMTY0NCwgQ3VsdHVyZT1uZXV0cmFsLCBQdWJsaWNLZXlUb2tlbj0xNmZjMTNhMjI2YzBlOTUxXV0DAAAACgmtAAAACa4AAAAJBgAAAAkBAAAACa8AAAAFMwAAABpBcGxvcmlzLkJhc2UuVUkuVmlzdWFsTGluZQ0AAAALbVN0YXJ0UG9pbnQJbUVuZFBvaW50C21MaW5lRm9ybWF0GVZpc3VhbE9iamVjdCttWk9yZGVyR3JvdXAeVmlzdWFsT2JqZWN0K21JbmRpdmlkdWFsWk9yZGVyFVZpc3VhbE9iamVjdCttVmlzaWJsZRhWaXN1YWxPYmplY3QrbVBlcnNpc3RlbnQQVmlzdWFsT2JqZWN0K21JZBZWaXN1YWxPYmplY3QrbVBlcnNEYXRhIFZpc3VhbE9iamVjdCttUmVnaXN0ZXJlZFdpdGhGb3JtJFZpc3VhbE9iamVjdCttRGVsZXRlUmVwYWludFRyaWdnZXJlZBZWaXN1YWxPYmplY3QrbVNoYXBlUHRyFVZpc3VhbE9iamVjdCttSXNEaXJ0eQQEBAAAAAAHAgAAAwAVU3lzdGVtLkRyYXdpbmcuUG9pbnRGBAAAABVTeXN0ZW0uRHJhd2luZy5Qb2ludEYEAAAAH0FwbG9yaXMuQmFzZS5PYmplY3RzLkxpbmVGb3JtYXQDAAAACAgBAQgBAQ9TeXN0ZW0uSW50UHRyW10BAwAAAAGwAAAAJAAAAAAASEK6TRNDAbEAAAAkAAAAShI1RLpNE0MJsgAAALgBAAD/////AQEKCbMAAAABAAoABzQAAAAAAQAAAAUAAAAEFVN5c3RlbS5EcmF3aW5nLlBvaW50RgQAAAABtAAAACQAAABK0jVEuk0TQwG1AAAAJAAAAAAASEK6zVlDAbYAAAAkAAAASpLBQ7rNWUMBtwAAACQAAABKEjVEus1ZQwG4AAAAJAAAAErSNUSVhCNDBzUAAAAAAQAAAAUAAAAEF0FwbG9yaXMuQmFzZS5BbmNob3JNb2RlAwAAAAG5AAAAZwAAAAQAAAABugAAAGcAAAAFAAAAAbsAAABnAAAAAwAAAAG8AAAAZwAAAAYAAAABvQAAAGcAAAAFAAAADzYAAAAFAAAAAQAAAAABATcAAAAXAAAAAb4AAAAkAAAASpLBQ7rNWUMBvwAAAGcAAAADAAAAAJAkCUEAAAAACcAAAAAAAAAACcEAAAAAAAABwgAAAGoAAAAAAAAAAcMAAABrAAAAAAC+QgAAiEEBxAAAABQAAABJErBDt21iQ2FijUIlSUJBpHC1PwbFAAAADzIwMTUgcG9wdWxhdGlvbgoJxgAAAAnFAAAA5AIAAP////8BAQoJxwAAAAEACgABOAAAACgAAAAJyAAAAAYAAAAGAAAAATkAAAApAAAACckAAAACAAAAAgAAAAE7AAAAKwAAAAoJygAAAAnLAAAACQcAAAAJAQAAAAnMAAAAATwAAAAsAAAACgnNAAAACc4AAAAJBwAAAAkBAAAACc8AAAAFPQ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AG0AAAAAEuAwAAAAlyAAAABtEAAAABLQbSAAAAASsBAAAAAAoG0wAAAAElCXUAAAAAAAAACgAAAAAAAAAABT4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cAAAAJAQAAAAAAAAABBtQAAAABLgAAAAAJcgAAAAbVAAAAAS0G1gAAAAErAQAAAAAKCgl1AAAAAAAAAAoAAAAAAAAAAAU/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bXAAAAAS4DAAAACXIAAAAG2AAAAAEtBtkAAAABKwEAAAAACgbaAAAAASUJdQAAAAEAAAAKAAAAAAAAAAABQAAAADAAAAAKCdsAAAAJ3AAAAAkHAAAACQEAAAAJ3QAAAAFDAAAAMwAAAAHeAAAAJAAAAAAASEK6TRNDAd8AAAAkAAAAAABIQggALkEJ4AAAALgBAAD/////AAEKCeEAAAABAAoAB0QAAAAAAQAAAAUAAAAEFVN5c3RlbS5EcmF3aW5nLlBvaW50RgQAAAAB4gAAACQAAAAAAEhCEAD8QAHjAAAAJAAAAAAAPEK6TRNDAeQAAAAkAAAAAAA8QrotnkIB5QAAACQAAAAAADxCCAAuQQHmAAAAJAAAAAAAPEIQAPxAB0UAAAAAAQAAAAUAAAAEF0FwbG9yaXMuQmFzZS5BbmNob3JNb2RlAwAAAAHnAAAAZwAAAAEAAAAB6AAAAGcAAAAIAAAAAekAAABnAAAAAgAAAAHqAAAAZwAAAAYAAAAB6wAAAGcAAAAHAAAAD0YAAAAFAAAAAQAAAAABAUcAAAAXAAAAAewAAAAkAAAAAABIQhAA/EAB7QAAAGcAAAABAAAAAAAAyMIAAHDBCe4AAAAAAIdDCe8AAAAAAAAB8AAAAGoAAAAAAAAAAfEAAABrAAAAAACIQgAAiEEB8gAAABQAAABJkuRBSZLaQi+gTUIlSUJBpHC1PwbzAAAACiUgdm90ZSB3b24KCfQAAAAJ8wAAAOQCAAD/////AQEKCfUAAAABAAoAAUgAAAAoAAAACfYAAAAHAAAABwAAAAFJAAAAKQAAAAn3AAAAAgAAAAIAAAAHSgAAAAABAAAAAAAAAAQuQXBsb3Jpcy5DaGFydC5Db2x1bW5PcmllbnRlZENoYXJ0K1VudXNlZFNlcmllcwIAAAAESwAAAJcBU3lzdGVtLkNvbGxlY3Rpb25zLkdlbmVyaWMuTGlzdGAxW1tBcGxvcmlzLkNoYXJ0LkNoYXJ0RGF0YVNlcmllcywgQXBsb3Jpcy5DaGFydCwgVmVyc2lvbj00LjEuMC4xNjQ0LCBDdWx0dXJlPW5ldXRyYWwsIFB1YmxpY0tleVRva2VuPTE2ZmMxM2EyMjZjMGU5NTFdXQMAAAAGX2l0ZW1zBV9zaXplCF92ZXJzaW9uBAAAH0FwbG9yaXMuQ2hhcnQuQ2hhcnREYXRhU2VyaWVzW10CAAAACAgJ+AAAABcAAAAzAAAAAUwAAAAoAAAACfkAAAAXAAAAGwAAAAFNAAAAKQAAAAn6AAAAAAAAAAAAAAAETgAAAJwBU3lzdGVtLkNvbGxlY3Rpb25zLkdlbmVyaWMuTGlzdGAxW1tBcGxvcmlzLkNoYXJ0LkFubm90YXRpb25EYXRhU2VyaWVzLCBBcGxvcmlzLkNoYXJ0LCBWZXJzaW9uPTQuMS4wLjE2NDQsIEN1bHR1cmU9bmV1dHJhbCwgUHVibGljS2V5VG9rZW49MTZmYzEzYTIyNmMwZTk1MV1dAwAAAAZfaXRlbXMFX3NpemUIX3ZlcnNpb24EAAAkQXBsb3Jpcy5DaGFydC5Bbm5vdGF0aW9uRGF0YVNlcmllc1tdAgAAAAgICfsAAAABAAAAAQAAAAFPAAAAKAAAAAn8AAAAAQAAAAEAAAABUAAAACkAAAAJ+gAAAAAAAAAAAAAABFEAAACXAVN5c3RlbS5Db2xsZWN0aW9ucy5HZW5lcmljLkxpc3RgMVtbQXBsb3Jpcy5DaGFydC5Bbm5vdGF0aW9uR3JvdXAsIEFwbG9yaXMuQ2hhcnQsIFZlcnNpb249NC4xLjAuMTY0NCwgQ3VsdHVyZT1uZXV0cmFsLCBQdWJsaWNLZXlUb2tlbj0xNmZjMTNhMjI2YzBlOTUxXV0DAAAABl9pdGVtcwVfc2l6ZQhfdmVyc2lvbgQAAB9BcGxvcmlzLkNoYXJ0LkFubm90YXRpb25Hcm91cFtdAgAAAAgICf0AAAAAAAAAAAAAAAFSAAAAKAAAAAn+AAAAAAAAAAAAAAABUwAAACkAAAAJ+gAAAAAAAAAAAAAABFQAAACWAVN5c3RlbS5Db2xsZWN0aW9ucy5HZW5lcmljLkxpc3RgMVtbQXBsb3Jpcy5DaGFydC5DaGFydERhdGFHcm91cCwgQXBsb3Jpcy5DaGFydCwgVmVyc2lvbj00LjEuMC4xNjQ0LCBDdWx0dXJlPW5ldXRyYWwsIFB1YmxpY0tleVRva2VuPTE2ZmMxM2EyMjZjMGU5NTFdXQMAAAAGX2l0ZW1zBV9zaXplCF92ZXJzaW9uBAAAHkFwbG9yaXMuQ2hhcnQuQ2hhcnREYXRhR3JvdXBbXQIAAAAICAn/AAAAFAAAAFoAAAABVQAAACgAAAAJAAEAABQAAAAWAAAAAVYAAAApAAAACfoAAAAAAAAAAAAAAARXAAAAkAFTeXN0ZW0uQ29sbGVjdGlvbnMuR2VuZXJpYy5MaXN0YDFbW0FwbG9yaXMuQ2hhcnQuRGVsdGFCYXIsIEFwbG9yaXMuQ2hhcnQsIFZlcnNpb249NC4xLjAuMTY0NCwgQ3VsdHVyZT1uZXV0cmFsLCBQdWJsaWNLZXlUb2tlbj0xNmZjMTNhMjI2YzBlOTUxXV0DAAAABl9pdGVtcwVfc2l6ZQhfdmVyc2lvbgQAABhBcGxvcmlzLkNoYXJ0LkRlbHRhQmFyW10CAAAACAgJAQEAAAAAAAAAAAAAAVgAAAAoAAAACf4AAAAAAAAAAAAAAAFZAAAAKQAAAAn6AAAAAAAAAAAAAAAEWgAAAJMBU3lzdGVtLkNvbGxlY3Rpb25zLkdlbmVyaWMuTGlzdGAxW1tBcGxvcmlzLkNoYXJ0LkRlbHRhQnJpZGdlLCBBcGxvcmlzLkNoYXJ0LCBWZXJzaW9uPTQuMS4wLjE2NDQsIEN1bHR1cmU9bmV1dHJhbCwgUHVibGljS2V5VG9rZW49MTZmYzEzYTIyNmMwZTk1MV1dAwAAAAZfaXRlbXMFX3NpemUIX3ZlcnNpb24EAAAbQXBsb3Jpcy5DaGFydC5EZWx0YUJyaWRnZVtdAgAAAAgICQIBAAAAAAAAAAAAAAFbAAAAKAAAAAn+AAAAAAAAAAAAAAABXAAAACkAAAAJ+gAAAAAAAAAAAAAABF0AAACTAVN5c3RlbS5Db2xsZWN0aW9ucy5HZW5lcmljLkxpc3RgMVtbQXBsb3Jpcy5DaGFydC5Hcm93dGhBcnJvdywgQXBsb3Jpcy5DaGFydCwgVmVyc2lvbj00LjEuMC4xNjQ0LCBDdWx0dXJlPW5ldXRyYWwsIFB1YmxpY0tleVRva2VuPTE2ZmMxM2EyMjZjMGU5NTFdXQMAAAAGX2l0ZW1zBV9zaXplCF92ZXJzaW9uBAAAG0FwbG9yaXMuQ2hhcnQuR3Jvd3RoQXJyb3dbXQIAAAAICAkDAQAAAAAAAAAAAAABXgAAACgAAAAJ/gAAAAAAAAAAAAAAAV8AAAApAAAACfoAAAAAAAAAAAAAAARgAAAAmgFTeXN0ZW0uQ29sbGVjdGlvbnMuR2VuZXJpYy5MaXN0YDFbW0FwbG9yaXMuQ2hhcnQuV2F0ZXJmYWxsQ29ubmVjdG9yLCBBcGxvcmlzLkNoYXJ0LCBWZXJzaW9uPTQuMS4wLjE2NDQsIEN1bHR1cmU9bmV1dHJhbCwgUHVibGljS2V5VG9rZW49MTZmYzEzYTIyNmMwZTk1MV1dAwAAAAZfaXRlbXMFX3NpemUIX3ZlcnNpb24EAAAiQXBsb3Jpcy5DaGFydC5XYXRlcmZhbGxDb25uZWN0b3JbXQIAAAAICAkEAQAAAAAAAAAAAAABYQAAACgAAAAJ/gAAAAAAAAAAAAAAAWIAAAApAAAACfoAAAAAAAAAAAAAAARjAAAAmAFTeXN0ZW0uQ29sbGVjdGlvbnMuR2VuZXJpYy5MaXN0YDFbW0FwbG9yaXMuQ2hhcnQuRWxlbWVudENvbm5lY3RvciwgQXBsb3Jpcy5DaGFydCwgVmVyc2lvbj00LjEuMC4xNjQ0LCBDdWx0dXJlPW5ldXRyYWwsIFB1YmxpY0tleVRva2VuPTE2ZmMxM2EyMjZjMGU5NTFdXQMAAAAGX2l0ZW1zBV9zaXplCF92ZXJzaW9uBAAAIEFwbG9yaXMuQ2hhcnQuRWxlbWVudENvbm5lY3RvcltdAgAAAAgICQUBAAAAAAAAAAAAAAFkAAAAKAAAAAn+AAAAAAAAAAAAAAABZQAAACkAAAAJ+gAAAAAAAAAAAAAABWgA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IUFwbG9yaXMuQ2hhcnQuQ29sdW1uT3JpZW50ZWRDaGFydAIAAAABAQELGkFwbG9yaXMuQmFzZS5PYmplY3RzLkNvbG9yAwAAAAEBGkFwbG9yaXMuQmFzZS5PYmplY3RzLkNvbG9yAwAAAAMAAAAJAQAAAAoAAAAAAEBBCYcAAAAKCQYBAAABAAkHAQAABWkAAAAaQXBsb3Jpcy5CYXNlLk9iamVjdHMuQ29sb3IHAAAAEkRhdGFPYmplY3QrbVBhcmVudBVEYXRhT2JqZWN0K21Db250YWluZXIFbVR5cGUEbVJHQhBtVGhlbWVDb2xvckluZGV4DG1BdXRvVXBkYXRlZAltTW9kaWZpZWQCAgAAAAAACAgIAQEDAAAACgoAAAAA////AA4AAAAAAQRuAAAAlgFTeXN0ZW0uQ29sbGVjdGlvbnMuR2VuZXJpYy5MaXN0YDFbW0FwbG9yaXMuQmFzZS5PYmplY3RzLlZhcmlhYmxlLCBBcGxvcmlzLkJhc2UsIFZlcnNpb249NC4xLjAuMTY0NCwgQ3VsdHVyZT1uZXV0cmFsLCBQdWJsaWNLZXlUb2tlbj0xNmZjMTNhMjI2YzBlOTUxXV0DAAAABl9pdGVtcwVfc2l6ZQhfdmVyc2lvbgQAAB9BcGxvcmlzLkJhc2UuT2JqZWN0cy5WYXJpYWJsZVtdAwAAAAgICQgBAAABAAAAAgAAAAVwAAAAH0FwbG9yaXMuQmFzZS5PYmplY3RzLlBlcnNJZERhdGECAAAAA21JZAttQ3VzdG9tRGF0YQcCCAMAAAAJCQEAAAoFgQAAAB9BcGxvcmlzLkJhc2UuT2JqZWN0cy5MaW5lRm9ybWF0EQAAABJEYXRhT2JqZWN0K21QYXJlbnQVRGF0YU9iamVjdCttQ29udGFpbmVyCm1VbmRlZmluZWQHbVdlaWdodAptRm9yZUNvbG9yCm1CYWNrQ29sb3IKbURhc2hTdHlsZQhtUGF0dGVybhVtQmVnaW5BcnJvd0hlYWRMZW5ndGgUbUJlZ2luQXJyb3dIZWFkU3R5bGUUbUJlZ2luQXJyb3dIZWFkV2lkdGgTbUVuZEFycm93SGVhZExlbmd0aBJtRW5kQXJyb3dIZWFkU3R5bGUSbUVuZEFycm93SGVhZFdpZHRoE21MaW5lV2VpZ2h0QWJzb2x1dGUUbURlZmF1bHRTY2hlbWVGb3JtYXQJbU1vZGlmaWVkAgIAAAQEAAAAAAAAAAAAAAABCxpBcGxvcmlzLkJhc2UuT2JqZWN0cy5Db2xvcgMAAAAaQXBsb3Jpcy5CYXNlLk9iamVjdHMuQ29sb3IDAAAACAgICAgICAgBAQEDAAAACgoAAAAAAAkKAQAACQsBAAABAAAA/v///wEAAAABAAAAAQAAAAEAAAABAAAAAQAAAAAAAQWCAAAAH0FwbG9yaXMuQmFzZS5PYmplY3RzLkZpbGxGb3JtYXQKAAAAEkRhdGFPYmplY3QrbVBhcmVudBVEYXRhT2JqZWN0K21Db250YWluZXIKbUZvcmVDb2xvcgptQmFja0NvbG9yBW1UeXBlCG1QYXR0ZXJuDW1UcmFuc3BhcmVuY3kIbVZpc2libGUUbURlZmF1bHRTY2hlbWVGb3JtYXQJbU1vZGlmaWVkAgIEBAAAAAAAABpBcGxvcmlzLkJhc2UuT2JqZWN0cy5Db2xvcgMAAAAaQXBsb3Jpcy5CYXNlLk9iamVjdHMuQ29sb3IDAAAACAgLCAEBAwAAAAoKCQwBAAAJDQEAAAEAAAAAAAAAAAAAAAAAAAAAAQGGAAAAcAAAAAkOAQAACgGIAAAAaQAAAAoKAAAAAAAAAAANAAAAAAEBiQAAAGkAAAAKCgEAAAAAAAAA/////wABB5sAAAAAAQAAABAAAAAEH0FwbG9yaXMuQmFzZS5PYmplY3RzLkRhdGFPYmplY3QDAAAACQkAAAAJCgAAAAkLAAAACQwAAAAJEAAAAAkRAAAACQ0AAAAJDgAAAAkPAAAACQcAAAAJBgAAAAkYAAAADQQHnAAAAAABAAAABAAAAAQcQXBsb3Jpcy5CYXNlLlVJLlZpc3VhbE9iamVjdAMAAAAJHgAAAAkXAAAACgoEnQAAAJEBU3lzdGVtLkNvbGxlY3Rpb25zLkdlbmVyaWMuTGlzdGAxW1tBcGxvcmlzLkNoYXJ0LlZhbHVlTGluZSwgQXBsb3Jpcy5DaGFydCwgVmVyc2lvbj00LjEuMC4xNjQ0LCBDdWx0dXJlPW5ldXRyYWwsIFB1YmxpY0tleVRva2VuPTE2ZmMxM2EyMjZjMGU5NTFdXQMAAAAGX2l0ZW1zBV9zaXplCF92ZXJzaW9uBAAAGUFwbG9yaXMuQ2hhcnQuVmFsdWVMaW5lW10CAAAACAgJDwEAAAAAAAAAAAAAAZ4AAAAoAAAACf4AAAAAAAAAAAAAAAGfAAAAKQAAAAn6AAAAAAAAAAAAAAAEoAAAAJEBU3lzdGVtLkNvbGxlY3Rpb25zLkdlbmVyaWMuTGlzdGAxW1tBcGxvcmlzLkNoYXJ0LkF4aXNCcmVhaywgQXBsb3Jpcy5DaGFydCwgVmVyc2lvbj00LjEuMC4xNjQ0LCBDdWx0dXJlPW5ldXRyYWwsIFB1YmxpY0tleVRva2VuPTE2ZmMxM2EyMjZjMGU5NTFdXQMAAAAGX2l0ZW1zBV9zaXplCF92ZXJzaW9uBAAAGUFwbG9yaXMuQ2hhcnQuQXhpc0JyZWFrW10CAAAACAgJEAEAAAAAAAAAAAAAAaEAAAAoAAAACf4AAAAAAAAAAAAAAAGiAAAAKQAAAAn6AAAAAAAAAAAAAAAErQAAAJABU3lzdGVtLkNvbGxlY3Rpb25zLkdlbmVyaWMuTGlzdGAxW1tBcGxvcmlzLkNoYXJ0LlRpY2tNYXJrLCBBcGxvcmlzLkNoYXJ0LCBWZXJzaW9uPTQuMS4wLjE2NDQsIEN1bHR1cmU9bmV1dHJhbCwgUHVibGljS2V5VG9rZW49MTZmYzEzYTIyNmMwZTk1MV1dAwAAAAZfaXRlbXMFX3NpemUIX3ZlcnNpb24EAAAYQXBsb3Jpcy5DaGFydC5UaWNrTWFya1tdAgAAAAgICREBAAAKAAAACgAAAAGuAAAAKAAAAAkSAQAACgAAAAoAAAABrwAAACkAAAAJ+gAAAAAAAAAAAAAAAbIAAACBAAAACgoAAABAPwkTAQAACRQBAAABAAAA/v///wAAAAABAAAAAAAAAAAAAAABAAAAAAAAAAAAAAGzAAAAcAAAAAkVAQAACgXA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CBAAABCVBcGxvcmlzLkNoYXJ0LkNvbHVtbk9yaWVudGVkQ2hhcnRBeGlzAgAAAAEBAQsaQXBsb3Jpcy5CYXNlLk9iamVjdHMuQ29sb3IDAAAAAQEaQXBsb3Jpcy5CYXNlLk9iamVjdHMuQ29sb3IDAAAAAwAAAAkGAAAACgEAAAAAIEEJhwAAAAoJFgEAAAAACRcBAAABwQAAAGkAAAAKCgAAAAD///8ADgAAAAABAcYAAABuAAAACRgBAAAAAAAAAQAAAAHHAAAAcAAAAAkZAQAACgfIAAAAAAEAAAAIAAAABB9BcGxvcmlzLkJhc2UuT2JqZWN0cy5EYXRhT2JqZWN0AwAAAAktAAAACS4AAAAJLwAAAAkwAAAACSsAAAAJLAAAAAoKB8kAAAAAAQAAAAQAAAAEHEFwbG9yaXMuQmFzZS5VSS5WaXN1YWxPYmplY3QDAAAACTMAAAAJNwAAAAoKAcoAAACdAAAACQ8BAAAAAAAAAAAAAAHLAAAAKAAAAAn+AAAAAAAAAAAAAAABzAAAACkAAAAJ+gAAAAAAAAAAAAAAAc0AAACgAAAACRABAAAAAAAAAAAAAAHOAAAAKAAAAAn+AAAAAAAAAAAAAAABzwAAACkAAAAJ+gAAAAAAAAAAAAAAAdsAAACtAAAACRoBAAAAAAAALAAAAAHcAAAAKAAAAAkbAQAAAAAAACwAAAAB3QAAACkAAAAJ+gAAAAAAAAAAAAAAAeAAAACBAAAACgoBAABAPwkcAQAACR0BAAABAAAA/v///wAAAAABAAAAAAAAAAAAAAABAAAAAAAAAAAAAQHhAAAAcAAAAAkeAQAACgXuA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CBAAABCVBcGxvcmlzLkNoYXJ0LkNvbHVtbk9yaWVudGVkQ2hhcnRBeGlzAgAAAAEBAQsaQXBsb3Jpcy5CYXNlLk9iamVjdHMuQ29sb3IDAAAAAQEaQXBsb3Jpcy5CYXNlLk9iamVjdHMuQ29sb3IDAAAAAwAAAAkHAAAACgEAAAAAIEEJhwAAAAoJHwEAAAAACSABAAAB7wAAAGkAAAAKCgAAAAD///8ADgAAAAABAfQAAABuAAAACRgBAAAAAAAAAQAAAAH1AAAAcAAAAAkhAQAACgf2AAAAAAEAAAAIAAAABB9BcGxvcmlzLkJhc2UuT2JqZWN0cy5EYXRhT2JqZWN0AwAAAAk9AAAACT4AAAAJPwAAAAlAAAAACTsAAAAJPAAAAAkiAQAACgf3AAAAAAEAAAAEAAAABBxBcGxvcmlzLkJhc2UuVUkuVmlzdWFsT2JqZWN0AwAAAAlDAAAACUcAAAAKCgf4AAAAAAEAAAAgAAAABB1BcGxvcmlzLkNoYXJ0LkNoYXJ0RGF0YVNlcmllcwIAAAAJIwEAAAkkAQAACSUBAAAJJgEAAAknAQAACSgBAAAJKQEAAAkqAQAACSsBAAAJLAEAAAktAQAACS4BAAAJLwEAAAkwAQAACTEBAAAJMgEAAAkzAQAACTQBAAAJNQEAAAk2AQAACTcBAAAJOAEAAAk5AQAADQkH+QAAAAABAAAAIAAAAAQfQXBsb3Jpcy5CYXNlLk9iamVjdHMuRGF0YU9iamVjdAMAAAAJIwEAAAkkAQAACSUBAAAJJgEAAAknAQAACSgBAAAJKQEAAAkqAQAACSsBAAAJLAEAAAktAQAACS4BAAAJLwEAAAkwAQAACTEBAAAJMgEAAAkzAQAACTQBAAAJNQEAAAk2AQAACTcBAAAJOAEAAAk5AQAADQkH+gAAAAABAAAAAAAAAAQcQXBsb3Jpcy5CYXNlLlVJLlZpc3VhbE9iamVjdAMAAAAH+wAAAAABAAAABAAAAAQiQXBsb3Jpcy5DaGFydC5Bbm5vdGF0aW9uRGF0YVNlcmllcwIAAAAJOgEAAA0DB/wAAAAAAQAAAAQAAAAEH0FwbG9yaXMuQmFzZS5PYmplY3RzLkRhdGFPYmplY3QDAAAACToBAAANAwf9AAAAAAEAAAAAAAAABB1BcGxvcmlzLkNoYXJ0LkFubm90YXRpb25Hcm91cAIAAAAH/gAAAAABAAAAAAAAAAQfQXBsb3Jpcy5CYXNlLk9iamVjdHMuRGF0YU9iamVjdAMAAAAH/wAAAAABAAAAIAAAAAQcQXBsb3Jpcy5DaGFydC5DaGFydERhdGFHcm91cAIAAAAJOwEAAAk8AQAACT0BAAAJPgEAAAk/AQAACUABAAAJQQEAAAlCAQAACUMBAAAJRAEAAAlFAQAACUYBAAAJRwEAAAlIAQAACUkBAAAJSgEAAAlLAQAACUwBAAAJTQEAAAlOAQAADQwHAAEAAAABAAAAIAAAAAQfQXBsb3Jpcy5CYXNlLk9iamVjdHMuRGF0YU9iamVjdAMAAAAJPAEAAAlMAQAACUQBAAAJRgEAAAlJAQAACUABAAAJQQEAAAk+AQAACUoBAAAJRwEAAAk7AQAACUsBAAAJSAEAAAk/AQAACU0BAAAJQwEAAAlCAQAACU4BAAAJRQEAAAk9AQAADQwHAQEAAAABAAAAAAAAAAQWQXBsb3Jpcy5DaGFydC5EZWx0YUJhcgIAAAAHAgEAAAABAAAAAAAAAAQZQXBsb3Jpcy5DaGFydC5EZWx0YUJyaWRnZQIAAAAHAwEAAAABAAAAAAAAAAQZQXBsb3Jpcy5DaGFydC5Hcm93dGhBcnJvdwIAAAAHBAEAAAABAAAAAAAAAAQgQXBsb3Jpcy5DaGFydC5XYXRlcmZhbGxDb25uZWN0b3ICAAAABwUBAAAAAQAAAAAAAAAEHkFwbG9yaXMuQ2hhcnQuRWxlbWVudENvbm5lY3RvcgIAAAABBgEAAGkAAAAKCgAAAAAAAAAADQAAAAABAQcBAABpAAAACgoBAAAAAAAAAP////8AAQcIAQAAAAEAAAAEAAAABB1BcGxvcmlzLkJhc2UuT2JqZWN0cy5WYXJpYWJsZQMAAAAFTwEAAB1BcGxvcmlzLkJhc2UuT2JqZWN0cy5WYXJpYWJsZQIAAAAGTnVtYmVyCFBvc2l0aW9uAAAICAMAAAABAAAACAAAAAFQAQAATwEAAAAAAAAAAAAAAVEBAABPAQAAAAAAAAAAAAABUgEAAE8BAAAAAAAAAAAAAA8JAQAAAQAAAAgAAAAAAQoBAABpAAAACgoAAAAAAAAAAA0AAAAAAQELAQAAaQAAAAoKAQAAAAAAAAD/////AAEBDAEAAGkAAAAKCgEAAAD///8A/////wABAQ0BAABpAAAACgoBAAAAAAAAAP////8AAQ8OAQAAAQAAAAgAAAAABw8BAAAAAQAAAAAAAAAEF0FwbG9yaXMuQ2hhcnQuVmFsdWVMaW5lAgAAAAcQAQAAAAEAAAAAAAAABBdBcGxvcmlzLkNoYXJ0LkF4aXNCcmVhawIAAAAHEQEAAAABAAAAEAAAAAQWQXBsb3Jpcy5DaGFydC5UaWNrTWFyawIAAAAJUwEAAAlUAQAACVUBAAAJVgEAAAlXAQAACVgBAAAJWQEAAAlaAQAACVsBAAAJXAEAAA0GBxIBAAAAAQAAABAAAAAEH0FwbG9yaXMuQmFzZS5PYmplY3RzLkRhdGFPYmplY3QDAAAACVMBAAAJVAEAAAlVAQAACVYBAAAJVwEAAAlYAQAACVkBAAAJWgEAAAlbAQAACVwBAAANBgUTAQAAGkFwbG9yaXMuQmFzZS5PYmplY3RzLkNvbG9yBwAAABJEYXRhT2JqZWN0K21QYXJlbnQVRGF0YU9iamVjdCttQ29udGFpbmVyBW1UeXBlBG1SR0IQbVRoZW1lQ29sb3JJbmRleAxtQXV0b1VwZGF0ZWQJbU1vZGlmaWVkBAIAAAAAAB9BcGxvcmlzLkJhc2UuT2JqZWN0cy5MaW5lRm9ybWF0AwAAAAgICAEBAwAAAAmyAAAACgAAAAAAAAAADQAAAAAABRQBAAAaQXBsb3Jpcy5CYXNlLk9iamVjdHMuQ29sb3IHAAAAEkRhdGFPYmplY3QrbVBhcmVudBVEYXRhT2JqZWN0K21Db250YWluZXIFbVR5cGUEbVJHQhBtVGhlbWVDb2xvckluZGV4DG1BdXRvVXBkYXRlZAltTW9kaWZpZWQEAgAAAAAAH0FwbG9yaXMuQmFzZS5PYmplY3RzLkxpbmVGb3JtYXQDAAAACAgIAQEDAAAACbIAAAAKAQAAAAAAAAD/////AAEPFQEAAAEAAAAIowAAAAEWAQAAaQAAAAoKAAAAAAAAAAANAAAAAAABFwEAAGkAAAAKCgAAAAAAAAAADQAAAAABBxgBAAAAAQAAAAAAAAAEHUFwbG9yaXMuQmFzZS5PYmplY3RzLlZhcmlhYmxlAwAAAA8ZAQAAAQAAAAiiAAAABxoBAAAAAQAAABAAAAAEFkFwbG9yaXMuQ2hhcnQuVGlja01hcmsCAAAADRAHGwEAAAABAAAAEAAAAAQfQXBsb3Jpcy5CYXNlLk9iamVjdHMuRGF0YU9iamVjdAMAAAANEAUcAQAAGkFwbG9yaXMuQmFzZS5PYmplY3RzLkNvbG9yBwAAABJEYXRhT2JqZWN0K21QYXJlbnQVRGF0YU9iamVjdCttQ29udGFpbmVyBW1UeXBlBG1SR0IQbVRoZW1lQ29sb3JJbmRleAxtQXV0b1VwZGF0ZWQJbU1vZGlmaWVkBAIAAAAAAB9BcGxvcmlzLkJhc2UuT2JqZWN0cy5MaW5lRm9ybWF0AwAAAAgICAEBAwAAAAngAAAACgAAAAAAAAAADQAAAAABBR0BAAAaQXBsb3Jpcy5CYXNlLk9iamVjdHMuQ29sb3IHAAAAEkRhdGFPYmplY3QrbVBhcmVudBVEYXRhT2JqZWN0K21Db250YWluZXIFbVR5cGUEbVJHQhBtVGhlbWVDb2xvckluZGV4DG1BdXRvVXBkYXRlZAltTW9kaWZpZWQEAgAAAAAAH0FwbG9yaXMuQmFzZS5PYmplY3RzLkxpbmVGb3JtYXQDAAAACAgIAQEDAAAACeAAAAAKAQAAAAAAAAD/////AAEPHgEAAAEAAAAIAAAAAAEfAQAAaQAAAAoKAAAAAAAAAAANAAAAAAABIAEAAGkAAAAKCgAAAAAAAAAADQAAAAABDyEBAAABAAAACKEAAAAFIgE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QEAAgAAJUFwbG9yaXMuQ2hhcnQuQ29sdW1uT3JpZW50ZWRDaGFydEF4aXMCAAAAIUFwbG9yaXMuQ2hhcnQuQ29sdW1uT3JpZW50ZWRDaGFydAIAAAAIAQgIAQgICAIAAAAJBwAAAAkBAAAAAAAAAAAGXQEAAAEuAwAAAAlyAAAABl4BAAABLQZfAQAAASsBAAAAAAoJ0wAAAAl1AAAAAQAAAAoAAAAAAAAAAAUjAQAAHUFwbG9yaXMuQ2hhcnQuQ2hhcnREYXRhU2VyaWVzHAAAAAZtQ2hhcnQLbVNlcmllc1R5cGUJbUV4Y2VsUm93Cm1FeGNlbFJvdzIFbUF4aXMNbURhdGFFbGVtZW50cxJtU2VyaWVzRGVzY3JpcHRpb24TbVNlcmllc0Rlc2NyaXB0aW9uMgptU3RhY2tlZE9uDG1DdXN0b21XaWR0aA9tQ3VzdG9tUG9zaXRpb24NbUN1c3RvbVpPcmRlcgltUG9seWxpbmUIbVBvbHlnb24UbVJlc3RvcmVMYWJlbFZpc2libGUGbUxhYmVsD21MYWJlbFBvc2l0aW9ucxFtTGFiZWxBbmNob3JNb2Rlcw5tTGFiZWxQb3NpdGlvbgttU21vb3RoTGluZQ5tU2FtZVR5cGVJbmRleAxtQmFyUG9zaXRpb24WbUxlZ2VuZFVwZGF0ZVN1c3BlbmRlZBRtUGVuZGluZ0xlZ2VuZFVwZGF0ZRhEYXRhT2JqZWN0K21DaGlsZE9iamVjdHMSRGF0YU9iamVjdCttUGFyZW50FURhdGFPYmplY3QrbUNvbnRhaW5lchlEYXRhT2JqZWN0K21WaXN1YWxPYmplY3RzBAQAAAQEAQEEAAAABAQABAQEAAAAAAAAAwQEAyFBcGxvcmlzLkNoYXJ0LkNvbHVtbk9yaWVudGVkQ2hhcnQCAAAAGEFwbG9yaXMuQ2hhcnQuU2VyaWVzVHlwZQIAAAAICCVBcGxvcmlzLkNoYXJ0LkNvbHVtbk9yaWVudGVkQ2hhcnRBeGlzAgAAAKIBQXBsb3Jpcy5CYXNlLk9iamVjdHMuRGF0YU9iamVjdENvbGxlY3Rpb25gMVtbQXBsb3Jpcy5DaGFydC5DaGFydERhdGFFbGVtZW50LCBBcGxvcmlzLkNoYXJ0LCBWZXJzaW9uPTQuMS4wLjE2NDQsIEN1bHR1cmU9bmV1dHJhbCwgUHVibGljS2V5VG9rZW49MTZmYzEzYTIyNmMwZTk1MV1dAwAAAB1BcGxvcmlzLkNoYXJ0LkNoYXJ0RGF0YVNlcmllcwIAAAALCwgeQXBsb3Jpcy5CYXNlLlVJLlZpc3VhbFBvbHlsaW5lAwAAAB1BcGxvcmlzLkJhc2UuVUkuVmlzdWFsUG9seWdvbgMAAAABHEFwbG9yaXMuQ2hhcnQuQ29ubmVjdGVkTGFiZWwCAAAAF1N5c3RlbS5EcmF3aW5nLlBvaW50RltdBAAAABlBcGxvcmlzLkJhc2UuQW5jaG9yTW9kZVtdAwAAAAgBCAgIAZgBU3lzdGVtLkNvbGxlY3Rpb25zLkdlbmVyaWMuTGlzdGAxW1tBcGxvcmlzLkJhc2UuT2JqZWN0cy5EYXRhT2JqZWN0LCBBcGxvcmlzLkJhc2UsIFZlcnNpb249NC4xLjAuMTY0N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xLjAuMTY0NCwgQ3VsdHVyZT1uZXV0cmFsLCBQdWJsaWNLZXlUb2tlbj0xNmZjMTNhMjI2YzBlOTUxXV0CAAAACQEAAAABYAEAABMAAAADAAAABAAAAP////8JBwAAAAlhAQAABmIBAAANRnJlZWRvbSBQYXJ0eQoKAAAAAAAAAAAAAAAACgoACWMBAAAJZAEAAAllAQAAAAAAAAAAAAAAAAAAAAAAAAAACWYBAAAJAQAAAAkBAAAACWcBAAABJAEAACMBAAAJAQAAAAFoAQAAEwAAAAMAAAAFAAAA/////wkHAAAACWkBAAAGagEAAA1WbGFhbXMgQmVsYW5nCgoAAAAAAAAAAAAAAAAKCgAJawEAAAlsAQAACW0BAAAAAAAAAAEAAAAAAAAAAAAAAAAJbgEAAAkBAAAACQEAAAAJbwEAAAElAQAAIwEAAAkBAAAAAXABAAATAAAAAwAAAAYAAAD/////CQcAAAAJcQEAAAZyAQAABFVLSVAKCgAAAAAAAAAAAAAAAAoKAAlzAQAACXQBAAAJdQEAAAAAAAAAAgAAAAAAAAAAAAAAAAl2AQAACQEAAAAJAQAAAAl3AQAAASYBAAAjAQAACQEAAAABeAEAABMAAAADAAAABwAAAP////8JBwAAAAl5AQAABnoBAAAJSU1STy9ORlNCCgoAAAAAAAAAAAAAAAAKCgAJewEAAAl8AQAACX0BAAAAAAAAAAMAAAAAAAAAAAAAAAAJfgEAAAkBAAAACQEAAAAJfwEAAAEnAQAAIwEAAAkBAAAAAYABAAATAAAAAwAAAAgAAAD/////CQcAAAAJgQEAAAaCAQAABkF0dGFjawoKAAAAAAAAAAAAAAAACgoACYMBAAAJhAEAAAmFAQAAAAAAAAAEAAAAAAAAAAAAAAAACYYBAAAJAQAAAAkBAAAACYcBAAABKAEAACMBAAAJAQAAAAGIAQAAEwAAAAMAAAAJAAAA/////wkHAAAACYkBAAAGigEAAAREYXduCgoAAAAAAAAAAAAAAAAKCgAJiwEAAAmMAQAACY0BAAAAAAAAAAUAAAAAAAAAAAAAAAAJjgEAAAkBAAAACQEAAAAJjwEAAAEpAQAAIwEAAAkBAAAAAZABAAATAAAAAwAAAAoAAAD/////CQcAAAAJkQEAAAaSAQAAFERhbmlzaCBQZW9wbGVzIFBhcnR5CgoAAAAAAAAAAAAAAAAKCgAJkwEAAAmUAQAACZUBAAAAAAAAAAYAAAAAAAAAAAAAAAAJlgEAAAkBAAAACQEAAAAJlwEAAAEqAQAAIwEAAAkBAAAAAZgBAAATAAAAAwAAAAsAAAD/////CQcAAAAJmQEAAAaaAQAAC0Zpbm5zIFBhcnR5CgoAAAAAAAAAAAAAAAAKCgAJmwEAAAmcAQAACZ0BAAAAAAAAAAcAAAAAAAAAAAAAAAAJngEAAAkBAAAACQEAAAAJnwEAAAErAQAAIwEAAAkBAAAAAaABAAATAAAAAwAAAAwAAAD/////CQcAAAAJoQEAAAaiAQAADk5hdGlvbmFsIEZyb250CgoAAAAAAAAAAAAAAAAKCgAJowEAAAmkAQAACaUBAAAAAAAAAAgAAAAAAAAAAAAAAAAJpgEAAAkBAAAACQEAAAAJpwEAAAEsAQAAIwEAAAkBAAAAAagBAAATAAAAAwAAAA0AAAD/////CQcAAAAJqQEAAAaqAQAAA0FmRAoKAAAAAAAAAAAAAAAACgoACasBAAAJrAEAAAmtAQAAAAAAAAAJAAAAAAAAAAAAAAAACa4BAAAJAQAAAAkBAAAACa8BAAABLQEAACMBAAAJAQAAAAGwAQAAEwAAAAMAAAAOAAAA/////wkHAAAACbEBAAAGsgEAAAtHb2xkZW4gRGF3bgoKAAAAAAAAAAAAAAAACgoACbMBAAAJtAEAAAm1AQAAAAAAAAAKAAAAAAAAAAAAAAAACbYBAAAJAQAAAAkBAAAACbcBAAABLgEAACMBAAAJAQAAAAG4AQAAEwAAAAMAAAAPAAAA/////wkHAAAACbkBAAAGugEAAAtJbmQuIEdyZWVrcwoKAAAAAAAAAAAAAAAACgoACbsBAAAJvAEAAAm9AQAAAAAAAAALAAAAAAAAAAAAAAAACb4BAAAJAQAAAAkBAAAACb8BAAABLwEAACMBAAAJAQAAAAHAAQAAEwAAAAMAAAAQAAAA/////wkHAAAACcEBAAAGwgEAAAtGaWRlc3otS0ROUAoKAAAAAAAAAAAAAAAACgoACcMBAAAJxAEAAAnFAQAAAAAAAAAMAAAAAAAAAAAAAAAACcYBAAAJAQAAAAkBAAAACccBAAABMAEAACMBAAAJAQAAAAHIAQAAEwAAAAMAAAARAAAA/////wkHAAAACckBAAAGygEAAAZKb2JiaWsKCgAAAAAAAAAAAAAAAAoKAAnLAQAACcwBAAAJzQEAAAAAAAAADQAAAAAAAAAAAAAAAAnOAQAACQEAAAAJAQAAAAnPAQAAATEBAAAjAQAACQEAAAAB0AEAABMAAAADAAAAEgAAAP////8JBwAAAAnRAQAABtIBAAAJTGVnYSBOb3JkCgoAAAAAAAAAAAAAAAAKCgAJ0wEAAAnUAQAACdUBAAAAAAAAAA4AAAAAAAAAAAAAAAAJ1gEAAAkBAAAACQEAAAAJ1wEAAAEyAQAAIwEAAAkBAAAAAdgBAAATAAAAAwAAABMAAAD/////CQcAAAAJ2QEAAAbaAQAAEVBhcnR5IGZvciBGcmVlZG9tCgoAAAAAAAAAAAAAAAAKCgAJ2wEAAAncAQAACd0BAAAAAAAAAA8AAAAAAAAAAAAAAAAJ3gEAAAkBAAAACQEAAAAJ3wEAAAEzAQAAIwEAAAkBAAAAAeABAAATAAAAAwAAABQAAAD/////CQcAAAAJ4QEAAAbiAQAAD0xhdyBhbmQgSnVzdGljZQoKAAAAAAAAAAAAAAAACgoACeMBAAAJ5AEAAAnlAQAAAAAAAAAQAAAAAAAAAAAAAAAACeYBAAAJAQAAAAkBAAAACecBAAABNAEAACMBAAAJAQAAAAHoAQAAEwAAAAMAAAAVAAAA/////wkHAAAACekBAAAG6gEAAA5QZW9wbGUncyBQYXJ0eQoKAAAAAAAAAAAAAAAACgoACesBAAAJ7AEAAAntAQAAAAAAAAARAAAAAAAAAAAAAAAACe4BAAAJAQAAAAkBAAAACe8BAAABNQEAACMBAAAJAQAAAAHwAQAAEwAAAAMAAAAWAAAA/////wkHAAAACfEBAAAG8gEAABVTbG92YWsgTmF0aW9uYWwgUGFydHkKCgAAAAAAAAAAAAAAAAoKAAnzAQAACfQBAAAJ9QEAAAAAAAAAEgAAAAAAAAAAAAAAAAn2AQAACQEAAAAJAQAAAAn3AQAAATYBAAAjAQAACQEAAAAB+AEAABMAAAADAAAAFwAAAP////8JBwAAAAn5AQAABvoBAAAHS290bGViYQoKAAAAAAAAAAAAAAAACgoACfsBAAAJ/AEAAAn9AQAAAAAAAAATAAAAAAAAAAAAAAAACf4BAAAJAQAAAAkBAAAACf8BAAABNwEAACMBAAAJAQAAAAEAAgAAEwAAAAMAAAAYAAAA/////wkHAAAACQECAAAGAgIAABBTd2VkZW4gRGVtb2NyYXRzCgoAAAAAAAAAAAAAAAAKCgAJAwIAAAkEAgAACQUCAAAAAAAAABQAAAAAAAAAAAAAAAAJBgIAAAkBAAAACQEAAAAJBwIAAAE4AQAAIwEAAAkBAAAAAQgCAAATAAAAAwAAABkAAAD/////CQcAAAAJCQIAAAYKAgAAFFN3aXNzIFBlb3BsZSdzIFBhcnR5CgoAAAAAAAAAAAAAAAAKCgAJCwIAAAkMAgAACQ0CAAAAAAAAABUAAAAAAAAAAAAAAAAJDgIAAAkBAAAACQEAAAAJDwIAAAE5AQAAIwEAAAkBAAAAARACAAATAAAAAwAAABoAAAD/////CQcAAAAJEQIAAAYSAgAABU90aGVyCgoAAAAAAAAAAAAAAAAKCgAJEwIAAAkUAgAACRUCAAAAAAAAABYAAAAAAAAAAAAAAAAJFgIAAAkBAAAACQEAAAAJFwIAAAU6AQAAIkFwbG9yaXMuQ2hhcnQuQW5ub3RhdGlvbkRhdGFTZXJpZXMPAAAAD21MYWJlbFBvc2l0aW9ucwZtQ2hhcnQJbUV4Y2VsUm93Bm1JbmRleAZtTGFiZWwTbUFubm90YXRpb25FbGVtZW50cxJtU2VyaWVzRGVzY3JpcHRpb24QbU51bWJlckZvcm1hdEFicxRtTnVtYmVyRm9ybWF0UGVyY2VudBJtTWFnbml0dWRlUHJvdmlkZXIKbVJvd0NlbnRlchhEYXRhT2JqZWN0K21DaGlsZE9iamVjdHMSRGF0YU9iamVjdCttUGFyZW50FURhdGFPYmplY3QrbUNvbnRhaW5lchlEYXRhT2JqZWN0K21WaXN1YWxPYmplY3RzBAQAAAQEAgQEBAADBAQDF1N5c3RlbS5EcmF3aW5nLlBvaW50RltdBAAAACFBcGxvcmlzLkNoYXJ0LkNvbHVtbk9yaWVudGVkQ2hhcnQCAAAACAgVQXBsb3Jpcy5CYXNlLlVJLkxhYmVsAwAAAKMBQXBsb3Jpcy5CYXNlLk9iamVjdHMuRGF0YU9iamVjdENvbGxlY3Rpb25gMVtbQXBsb3Jpcy5DaGFydC5Bbm5vdGF0aW9uRWxlbWVudCwgQXBsb3Jpcy5DaGFydCwgVmVyc2lvbj00LjEuMC4xNjQ0LCBDdWx0dXJlPW5ldXRyYWwsIFB1YmxpY0tleVRva2VuPTE2ZmMxM2EyMjZjMGU5NTFdXQMAAAAaQXBsb3Jpcy5DaGFydC5OdW1iZXJGb3JtYXQCAAAAGkFwbG9yaXMuQ2hhcnQuTnVtYmVyRm9ybWF0AgAAACdBcGxvcmlzLkNoYXJ0LlN0YW5kYXJkTWFnbml0dWRlUHJvdmlkZXICAAAAC5gBU3lzdGVtLkNvbGxlY3Rpb25zLkdlbmVyaWMuTGlzdGAxW1tBcGxvcmlzLkJhc2UuT2JqZWN0cy5EYXRhT2JqZWN0LCBBcGxvcmlzLkJhc2UsIFZlcnNpb249NC4xLjAuMTY0N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xLjAuMTY0NCwgQ3VsdHVyZT1uZXV0cmFsLCBQdWJsaWNLZXlUb2tlbj0xNmZjMTNhMjI2YzBlOTUxXV0CAAAACgkBAAAAAwAAAAAAAAAJGAIAAAkZAgAABhoCAAAEWWVhcgkbAgAACgkcAgAAcLt9QwkdAgAACQEAAAAJAQAAAAkeAgAABTsBAAAcQXBsb3Jpcy5DaGFydC5DaGFydERhdGFHcm91cBEAAAAGbUNoYXJ0EW1Hcm91cERlc2NyaXB0aW9uB21IaWRkZW4MbUdyb3VwQW5jaG9yCm1DdXN0b21TdW0TbVBsYWNlaG9sZGVyc0JlZm9yZRBtVG90YWxMYWJlbENvdW50CW1CYXJDb3VudBNtTGFiZWxCYXJSZWZlcmVuY2VzDG1Ub3RhbExhYmVscw5tQ2F0ZWdvcnlMYWJlbBBtQW5ub3RhdGlvbkdyb3VwEm1NYWduaXR1ZGVQcm92aWRlchhEYXRhT2JqZWN0K21DaGlsZE9iamVjdHMSRGF0YU9iamVjdCttUGFyZW50FURhdGFPYmplY3QrbUNvbnRhaW5lchlEYXRhT2JqZWN0K21WaXN1YWxPYmplY3RzBAIABAIAAAAHBAQEBAMEBAMhQXBsb3Jpcy5DaGFydC5Db2x1bW5PcmllbnRlZENoYXJ0AgAAAAEeQXBsb3Jpcy5DaGFydC5DaGFydEdyb3VwQW5jaG9yAgAAAAgICAgXQXBsb3Jpcy5CYXNlLlVJLkxhYmVsW10DAAAAFUFwbG9yaXMuQmFzZS5VSS5MYWJlbAMAAAAdQXBsb3Jpcy5DaGFydC5Bbm5vdGF0aW9uR3JvdXACAAAAIEFwbG9yaXMuQ2hhcnQuSU1hZ25pdHVkZVByb3ZpZGVyAgAAAJgBU3lzdGVtLkNvbGxlY3Rpb25zLkdlbmVyaWMuTGlzdGAxW1tBcGxvcmlzLkJhc2UuT2JqZWN0cy5EYXRhT2JqZWN0LCBBcGxvcmlzLkJhc2UsIFZlcnNpb249NC4xLjAuMTY0N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xLjAuMTY0NCwgQ3VsdHVyZT1uZXV0cmFsLCBQdWJsaWNLZXlUb2tlbj0xNmZjMTNhMjI2YzBlOTUxXV0CAAAACQEAAAAGHwIAAAdIdW5nYXJ5AAUgAgAAHkFwbG9yaXMuQ2hhcnQuQ2hhcnRHcm91cEFuY2hvcgEAAAAHdmFsdWVfXwAIAgAAAAAAAAAIBq5H4XoUriNAAAAAAAEAAAABAAAACSECAAAJIgIAAAkjAgAACgkGAAAACSQCAAAJAQAAAAkBAAAACSUCAAABPAEAADsBAAAJAQAAAAYmAgAAB0F1c3RyaWEAAScCAAAgAgAAAAAAAAgGuB6F61E4IUAAAAAAAQAAAAEAAAAJKAIAAAkpAgAACSoCAAAKCQYAAAAJKwIAAAkBAAAACQEAAAAJLAIAAAE9AQAAOwEAAAkBAAAABi0CAAALU3dpdHplcmxhbmQAAS4CAAAgAgAAAAAAAAgGCtejcD2KIEAAAAAAAQAAAAEAAAAJLwIAAAkwAgAACTECAAAKCQYAAAAJMgIAAAkBAAAACQEAAAAJMwIAAAE+AQAAOwEAAAkBAAAABjQCAAAGRnJhbmNlAAE1AgAAIAIAAAAAAAAIBnsUrkfhmlBAAAAAAAEAAAABAAAACTYCAAAJNwIAAAk4AgAACgkGAAAACTkCAAAJAQAAAAkBAAAACToCAAABPwEAADsBAAAJAQAAAAY7AgAABlBvbGFuZAABPAIAACACAAAAAAAACAYfhetRuD5DQAAAAAABAAAAAQAAAAk9AgAACT4CAAAJPwIAAAoJBgAAAAlAAgAACQEAAAAJAQAAAAlBAgAAAUABAAA7AQAACQEAAAAGQgIAAAdEZW5tYXJrAAFDAgAAIAIAAAAAAAAIBq5H4XoUrhZAAAAAAAEAAAABAAAACUQCAAAJRQIAAAlGAgAACgkGAAAACUcCAAAJAQAAAAkBAAAACUgCAAABQQEAADsBAAAJAQAAAAZJAgAAB0ZpbmxhbmQAAUoCAAAgAgAAAAAAAAgG7FG4HoXrFUAAAAAAAQAAAAEAAAAJSwIAAAlMAgAACU0CAAAKCQYAAAAJTgIAAAkBAAAACQEAAAAJTwIAAAFCAQAAOwEAAAkBAAAABlACAAAIU2xvdmFraWEAAVECAAAgAgAAAAAAAAgGrkfhehSuFUAAAAAAAQAAAAEAAAAJUgIAAAlTAgAACVQCAAAKCQYAAAAJVQIAAAkBAAAACQEAAAAJVgIAAAFDAQAAOwEAAAkBAAAABlcCAAAHUm9tYW5pYQABWAIAACACAAAAAAAACAZSuB6F69EzQAAAAAABAAAAAQAAAAlZAgAACVoCAAAJWwIAAAoJBgAAAAlcAgAACQEAAAAJAQAAAAldAgAAAUQBAAA7AQAACQEAAAAGXgIAAAdCcml0YWluAAFfAgAAIAIAAAAAAAAIBoXrUbgeRVBAAAAAAAEAAAABAAAACWACAAAJYQIAAAliAgAACgkGAAAACWMCAAAJAQAAAAkBAAAACWQCAAABRQEAADsBAAAJAQAAAAZlAgAABlN3ZWRlbgABZgIAACACAAAAAAAACAa4HoXrUbgjQAAAAAABAAAAAQAAAAlnAgAACWgCAAAJaQIAAAoJBgAAAAlqAgAACQEAAAAJAQAAAAlrAgAAAUYBAAA7AQAACQEAAAAGbAIAAAhCdWxnYXJpYQABbQIAACACAAAAAAAACAbD9Shcj8IcQAAAAAABAAAAAQAAAAluAgAACW8CAAAJcAIAAAoJBgAAAAlxAgAACQEAAAAJAQAAAAlyAgAAAUcBAAA7AQAACQEAAAAGcwIAAAZHcmVlY2UAAXQCAAAgAgAAAAAAAAgGCtejcD2KJUAAAAAAAQAAAAEAAAAJdQIAAAl2AgAACXcCAAAKCQYAAAAJeAIAAAkBAAAACQEAAAAJeQIAAAFIAQAAOwEAAAkBAAAABnoCAAALTmV0aGVybGFuZHMAAXsCAAAgAgAAAAAAAAgGAAAAAAAAMUAAAAAAAQAAAAEAAAAJfAIAAAl9AgAACX4CAAAKCQYAAAAJfwIAAAkBAAAACQEAAAAJgAIAAAFJAQAAOwEAAAkBAAAABoECAAAOQ3plY2ggUmVwdWJsaWMAAYICAAAgAgAAAAAAAAgGFK5H4XoUJUAAAAAAAQAAAAEAAAAJgwIAAAmEAgAACYUCAAAKCQYAAAAJhgIAAAkBAAAACQEAAAAJhwIAAAFKAQAAOwEAAAkBAAAABogCAAAHR2VybWFueQABiQIAACACAAAAAAAACAY9CtejcF1UQAAAAAABAAAAAQAAAAmKAgAACYsCAAAJjAIAAAoJBgAAAAmNAgAACQEAAAAJAQAAAAmOAgAAAUsBAAA7AQAACQEAAAAGjwIAAAVJdGFseQABkAIAACACAAAAAAAACAZ7FK5H4XpOQAAAAAABAAAAAQAAAAmRAgAACZICAAAJkwIAAAoJBgAAAAmUAgAACQEAAAAJAQAAAAmVAgAAAUwBAAA7AQAACQEAAAAGlgIAAAdCZWxnaXVtAAGXAgAAIAIAAAAAAAAIBoXrUbgehSZAAAAAAAEAAAABAAAACZgCAAAJmQIAAAmaAgAACgkGAAAACZsCAAAJAQAAAAkBAAAACZwCAAABTQEAADsBAAAJAQAAAAadAgAACFBvcnR1Z2FsAAGeAgAAIAIAAAAAAAAIBh+F61G4niRAAAAAAAEAAAABAAAACZ8CAAAJoAIAAAmhAgAACgkGAAAACaICAAAJAQAAAAkBAAAACaMCAAABTgEAADsBAAAJAQAAAAakAgAABVNwYWluAAGlAgAAIAIAAAAAAAAIBuxRuB6FK0dAAAAAAAEAAAABAAAACaYCAAAJpwIAAAmoAgAACgkGAAAACakCAAAJAQAAAAkBAAAACaoCAAAFUwEAABZBcGxvcmlzLkNoYXJ0LlRpY2tNYXJrDQAAAAttVmlzdWFsTGluZQltR3JpZExpbmUGbUxhYmVsBW1BeGlzCG1WaXNpYmxlCW1Qb3NpdGlvbgttU3RhcnRQb2ludAltRW5kUG9pbnQMbUhhc0dyaWRMaW5lGERhdGFPYmplY3QrbUNoaWxkT2JqZWN0cxJEYXRhT2JqZWN0K21QYXJlbnQVRGF0YU9iamVjdCttQ29udGFpbmVyGURhdGFPYmplY3QrbVZpc3VhbE9iamVjdHMEBAQEAAAEBAADBAQDGkFwbG9yaXMuQmFzZS5VSS5WaXN1YWxMaW5lAwAAABpBcGxvcmlzLkJhc2UuVUkuVmlzdWFsTGluZQMAAAAVQXBsb3Jpcy5CYXNlLlVJLkxhYmVsAwAAABJBcGxvcmlzLkNoYXJ0LkF4aXMCAAAAAQYVU3lzdGVtLkRyYXdpbmcuUG9pbnRGBAAAABVTeXN0ZW0uRHJhd2luZy5Qb2ludEYEAAAAAZgBU3lzdGVtLkNvbGxlY3Rpb25zLkdlbmVyaWMuTGlzdGAxW1tBcGxvcmlzLkJhc2UuT2JqZWN0cy5EYXRhT2JqZWN0LCBBcGxvcmlzLkJhc2UsIFZlcnNpb249NC4xLjAuMTY0NC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xLjAuMTY0NCwgQ3VsdHVyZT1uZXV0cmFsLCBQdWJsaWNLZXlUb2tlbj0xNmZjMTNhMjI2YzBlOTUxXV0CAAAACasCAAAKCawCAAAJBgAAAAEAAAAAAAAAAAGtAgAAJAAAAAAASEK6TRNDAa4CAAAkAAAAAABIQrpNF0MACa8CAAAJBgAAAAkBAAAACbACAAABVAEAAFMBAAAJsQIAAAoJsgIAAAkGAAAAAQAAAAAAAElAAbMCAAAkAAAALi/rQrpNE0MBtAIAACQAAAAuL+tCuk0XQwAJtQIAAAkGAAAACQEAAAAJtgIAAAFVAQAAUwEAAAm3AgAACgm4AgAACQYAAAABAAAAAAAAWUABuQIAACQAAAAuLzlDuk0TQwG6AgAAJAAAAC4vOUO6TRdDAAm7AgAACQYAAAAJAQAAAAm8AgAAAVYBAABTAQAACb0CAAAKCb4CAAAJBgAAAAEAAAAAAMBiQAG/AgAAJAAAAMXGfEO6TRNDAcACAAAkAAAAxcZ8Q7pNF0MACcECAAAJBgAAAAkBAAAACcICAAABVwEAAFMBAAAJwwIAAAoJxAIAAAkGAAAAAQAAAAAAAGlAAcUCAAAkAAAALi+gQ7pNE0MBxgIAACQAAAAuL6BDuk0XQwAJxwIAAAkGAAAACQEAAAAJyAIAAAFYAQAAUwEAAAnJAgAACgnKAgAACQYAAAABAAAAAABAb0ABywIAACQAAAD6+sFDuk0TQwHMAgAAJAAAAPr6wUO6TRdDAAnNAgAACQYAAAAJAQAAAAnOAgAAAVkBAABTAQAACc8CAAAKCdACAAAJBgAAAAEAAAAAAMByQAHRAgAAJAAAAMXG40O6TRNDAdICAAAkAAAAxcbjQ7pNF0MACdMCAAAJBgAAAAkBAAAACdQCAAABWgEAAFMBAAAJ1QIAAAoJ1gIAAAkGAAAAAQAAAAAA4HVAAdcCAAAkAAAASMkCRLpNE0MB2AIAACQAAABIyQJEuk0XQwAJ2QIAAAkGAAAACQEAAAAJ2gIAAAFbAQAAUwEAAAnbAgAACgncAgAACQYAAAABAAAAAAAAeUAB3QIAACQAAAAurxNEuk0TQwHeAgAAJAAAAC6vE0S6TRdDAAnfAgAACQYAAAAJAQAAAAngAgAAAVwBAABTAQAACeECAAAKCeICAAAJBgAAAAEAAAAAACB8QAHjAgAAJAAAABSVJES6TRNDAeQCAAAkAAAAFJUkRLpNF0MACeUCAAAJBgAAAAkBAAAACeYCAAAFYQEAAKIBQXBsb3Jpcy5CYXNlLk9iamVjdHMuRGF0YU9iamVjdENvbGxlY3Rpb25gMVtbQXBsb3Jpcy5DaGFydC5DaGFydERhdGFFbGVtZW50LCBBcGxvcmlzLkNoYXJ0LCBWZXJzaW9uPTQuMS4wLjE2NDQsIEN1bHR1cmU9bmV1dHJhbCwgUHVibGljS2V5VG9rZW49MTZmYzEzYTIyNmMwZTk1MV1dBgAAAAttQ29sbGVjdGlvbgVtTGlzdBhEYXRhT2JqZWN0K21DaGlsZE9iamVjdHMSRGF0YU9iamVjdCttUGFyZW50FURhdGFPYmplY3QrbUNvbnRhaW5lchlEYXRhT2JqZWN0K21WaXN1YWxPYmplY3RzBAMDBAQDoAFBcGxvcmlzLkJhc2UuT2JqZWN0cy5Tb3J0YWJsZUNvbGxlY3Rpb25gMVtbQXBsb3Jpcy5DaGFydC5DaGFydERhdGFFbGVtZW50LCBBcGxvcmlzLkNoYXJ0LCBWZXJzaW9uPTQuMS4wLjE2NDQsIEN1bHR1cmU9bmV1dHJhbCwgUHVibGljS2V5VG9rZW49MTZmYzEzYTIyNmMwZTk1MV1dAwAAAJgBU3lzdGVtLkNvbGxlY3Rpb25zLkdlbmVyaWMuTGlzdGAxW1tBcGxvcmlzLkNoYXJ0LkNoYXJ0RGF0YUVsZW1lbnQsIEFwbG9yaXMuQ2hhcnQsIFZlcnNpb249NC4xLjAuMTY0NCwgQ3VsdHVyZT1uZXV0cmFsLCBQdWJsaWNLZXlUb2tlbj0xNmZjMTNhMjI2YzBlOTUxXV2YAVN5c3RlbS5Db2xsZWN0aW9ucy5HZW5lcmljLkxpc3RgMVtbQXBsb3Jpcy5CYXNlLk9iamVjdHMuRGF0YU9iamVjdCwgQXBsb3Jpcy5CYXNlLCBWZXJzaW9uPTQuMS4wLjE2NDQ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S4wLjE2NDQsIEN1bHR1cmU9bmV1dHJhbCwgUHVibGljS2V5VG9rZW49MTZmYzEzYTIyNmMwZTk1MV1dAwAAAAoJ5wIAAAnoAgAACSMBAAAJAQAAAAnpAgAABWMBAAAcQXBsb3Jpcy5DaGFydC5Db25uZWN0ZWRMYWJlbCUAAAAObUNvbm5lY3RvckxpbmUQbVpPcmRlckNvbm5lY3Rvcg5tQ29ubmVjdG9yTW9kZRltQW5nbGVkQ29ubmVjdG9yRGlyZWN0aW9uEG1Db25uZWN0b3JUYXJnZXQZbUNvbm5lY3RvclRhcmdldEFyZWFTaGFwZRptQ29ubmVjdG9yRGlzcGxheVRocmVzaG9sZBNtQ29ubmVjdEFuY2hvclBvaW50FUxhYmVsK21BbmNob3JQb3NpdGlvbhFMYWJlbCttQW5jaG9yTW9kZRVMYWJlbCttQWRkSW5uZXJNYXJnaW4cTGFiZWwrbU9mZnNldERpcmVjdGlvbkFuY2hvch1MYWJlbCttT2Zmc2V0T3J0aG9nb25hbEFuY2hvchFMYWJlbCttVGV4dEZvcm1hdA9MYWJlbCttUm90YXRpb24QTGFiZWwrbUJhY2tDb2xvchNMYWJlbCttVXNlQmFja0NvbG9yFExhYmVsK21Vc2VCYWNrZ3JvdW5kF0xhYmVsK21DdXN0b21CYWNrZ3JvdW5kFExhYmVsK21MaW5lQWxpZ25tZW50D0xhYmVsK21UZXh0U2l6ZRVMYWJlbCttTGFiZWxSZWN0YW5nbGUbTGFiZWwrbUlubmVyTWFyZ2luTGVmdFJpZ2h0C0xhYmVsK21UZXh0EExhYmVsK21WYXJpYWJsZXMTTGFiZWwrbVZhcmlhYmxlTGlzdBRMYWJlbCttQ3VzdG9tQ29udGVu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AAQEBAQAAAQEAAAABAAEAAAABAQEAAEDAwEAAAAABwIAAAMAHkFwbG9yaXMuQmFzZS5VSS5WaXN1YWxQb2x5bGluZQMAAAAIK0FwbG9yaXMuQ2hhcnQuQ29ubmVjdGVkTGFiZWwrZUNvbm5lY3Rvck1vZGUCAAAANkFwbG9yaXMuQ2hhcnQuQ29ubmVjdGVkTGFiZWwrZUFuZ2xlZENvbm5lY3RvckRpcmVjdGlvbgIAAAAZU3lzdGVtLkRyYXdpbmcuUmVjdGFuZ2xlRgQAAAAtQXBsb3Jpcy5DaGFydC5Db25uZWN0ZWRMYWJlbCtlVGFyZ2V0QXJlYVNoYXBlAgAAAAsBFVN5c3RlbS5EcmF3aW5nLlBvaW50RgQAAAAXQXBsb3Jpcy5CYXNlLkFuY2hvck1vZGUDAAAAAQsLH0FwbG9yaXMuQmFzZS5PYmplY3RzLlRleHRGb3JtYXQDAAAACxpBcGxvcmlzLkJhc2UuT2JqZWN0cy5Db2xvcgMAAAABAQEqQXBsb3Jpcy5CYXNlLlVJLkxhYmVsK0xpbmVBbGlnbm1lbnRPcHRpb25zAwAAABRTeXN0ZW0uRHJhd2luZy5TaXplRgQAAAAZU3lzdGVtLkRyYXdpbmcuUmVjdGFuZ2xlRgQAAAALoAFTeXN0ZW0uQ29sbGVjdGlvbnMuT2JqZWN0TW9kZWwuQ29sbGVjdGlvbmAxW1tBcGxvcmlzLkJhc2UuT2JqZWN0cy5WYXJpYWJsZSwgQXBsb3Jpcy5CYXNlLCBWZXJzaW9uPTQuMS4wLjE2NDQsIEN1bHR1cmU9bmV1dHJhbCwgUHVibGljS2V5VG9rZW49MTZmYzEzYTIyNmMwZTk1MV1dlgFTeXN0ZW0uQ29sbGVjdGlvbnMuR2VuZXJpYy5MaXN0YDFbW0FwbG9yaXMuQmFzZS5PYmplY3RzLlZhcmlhYmxlLCBBcGxvcmlzLkJhc2UsIFZlcnNpb249NC4xLjAuMTY0NCwgQ3VsdHVyZT1uZXV0cmFsLCBQdWJsaWNLZXlUb2tlbj0xNmZjMTNhMjI2YzBlOTUxXV0ICAEBCAEBD1N5c3RlbS5JbnRQdHJbXQECAAAAClgCAAAF6gIAACtBcGxvcmlzLkNoYXJ0LkNvbm5lY3RlZExhYmVsK2VDb25uZWN0b3JNb2RlAQAAAAd2YWx1ZV9fAAgCAAAAAQAAAAXrAgAANkFwbG9yaXMuQ2hhcnQuQ29ubmVjdGVkTGFiZWwrZUFuZ2xlZENvbm5lY3RvckRpcmVjdGlvbgEAAAAHdmFsdWVfXwAIAgAAAAAAAAAB7AIAABQAAAAMKSZEuk0TQ+CTYkIAAAAABe0CAAAtQXBsb3Jpcy5DaGFydC5Db25uZWN0ZWRMYWJlbCtlVGFyZ2V0QXJlYVNoYXBlAQAAAAd2YWx1ZV9fAAgCAAAAAAAAAAAAEEEBAe4CAAAkAAAASlI2RLpNE0MB7wIAAGcAAAAEAAAAAAAAAAAAAAAACfACAAAAAAAACfECAAAAAAAB8gIAAGoAAAAAAAAAAfMCAABrAAAAAADKQgAAoEEB9AIAABQAAAAAAAAAAAAAAAAAAAAAAAAAXrrZPwliAQAACgn1AgAABvYCAAAAIAMAAP////8AAQoJ9wIAAAEACgAHZAEAAAABAAAAAgAAAAQVU3lzdGVtLkRyYXdpbmcuUG9pbnRGBAAAAAH4AgAAJAAAAEpSNkS6TRNDAfkCAAAkAAAAAAA0QrpNE0MHZQEAAAABAAAAAgAAAAQXQXBsb3Jpcy5CYXNlLkFuY2hvck1vZGUDAAAAAfoCAABnAAAABAAAAAH7AgAAZwAAAAIAAAABZgEAACgAAAAJ/AIAAAEAAAABAAAAAWcBAAApAAAACf0CAAABAAAAAwAAAAFpAQAAYQEAAAoJ/gIAAAn/AgAACSQBAAAJAQAAAAkAAwAAAWsBAABjAQAAClgCAAABAQMAAOoCAAABAAAAAQIDAADrAgAAAAAAAAEDAwAAFAAAAAwpJkS6TRND4JNiQgAAAAABBAMAAO0CAAAAAAAAAAAQQQEBBQMAACQAAABKUjZEuk0TQwEGAwAAZwAAAAQAAAAAAAAAAAAAAAAJBwMAAAAAAAAJCAMAAAAAAAEJAwAAagAAAAAAAAABCgMAAGsAAAAAAMZCAACgQQELAwAAFAAAAAAAAAAAAAAAAAAAAAAAAABeutk/CWoBAAAKCQwDAAAJ9gIAACADAAD/////AAEKCQ0DAAABAAoAB2wBAAAAAQAAAAIAAAAEFVN5c3RlbS5EcmF3aW5nLlBvaW50RgQAAAABDgMAACQAAABKUjZEuk0TQwEPAwAAJAAAAAAANEK6TRNDB20BAAAAAQAAAAIAAAAEF0FwbG9yaXMuQmFzZS5BbmNob3JNb2RlAwAAAAEQAwAAZwAAAAQAAAABEQMAAGcAAAACAAAAAW4BAAAoAAAACRIDAAABAAAAAQAAAAFvAQAAKQAAAAkTAwAAAQAAAAMAAAABcQEAAGEBAAAKCRQDAAAJFQMAAAklAQAACQEAAAAJFgMAAAFzAQAAYwEAAApYAgAAARcDAADqAgAAAQAAAAEYAwAA6wIAAAAAAAABGQMAABQAAAAMKSZEuk0TQ+CTYkIAAAAAARoDAADtAgAAAAAAAAAAEEEBARsDAAAkAAAASlI2RLpNE0MBHAMAAGcAAAAEAAAAAAAAAAAAAAAACR0DAAAAAAAACR4DAAAAAAABHwMAAGoAAAAAAAAAASADAABrAAAAAAAAQgAAoEEBIQMAABQAAAAAAAAAAAAAAAAAAAAAAAAAXrrZPwlyAQAACgkiAwAACfYCAAAgAwAA/////wABCgkjAwAAAQAKAAd0AQAAAAEAAAACAAAABBVTeXN0ZW0uRHJhd2luZy5Qb2ludEYEAAAAASQDAAAkAAAASlI2RLpNE0MBJQMAACQAAAAAADRCuk0TQwd1AQAAAAEAAAACAAAABBdBcGxvcmlzLkJhc2UuQW5jaG9yTW9kZQMAAAABJgMAAGcAAAAEAAAAAScDAABnAAAAAgAAAAF2AQAAKAAAAAkoAwAAAQAAAAEAAAABdwEAACkAAAAJKQMAAAEAAAADAAAAAXkBAABhAQAACgkqAwAACSsDAAAJJgEAAAkBAAAACSwDAAABewEAAGMBAAAKWAIAAAEtAwAA6gIAAAEAAAABLgMAAOsCAAAAAAAAAS8DAAAUAAAADCkmRLpNE0Pgk2JCAAAAAAEwAwAA7QIAAAAAAAAAABBBAQExAwAAJAAAAEpSNkS6TRNDATIDAABnAAAABAAAAAAAAAAAAAAAAAkzAwAAAAAAAAk0AwAAAAAAATUDAABqAAAAAAAAAAE2AwAAawAAAAAAoEIAAKBBATcDAAAUAAAAAAAAAAAAAAAAAAAAAAAAAF662T8JegEAAAoJOAMAAAn2AgAAIAMAAP////8AAQoJOQMAAAEACgAHfAEAAAABAAAAAgAAAAQVU3lzdGVtLkRyYXdpbmcuUG9pbnRGBAAAAAE6AwAAJAAAAEpSNkS6TRNDATsDAAAkAAAAAAA0QrpNE0MHfQEAAAABAAAAAgAAAAQXQXBsb3Jpcy5CYXNlLkFuY2hvck1vZGUDAAAAATwDAABnAAAABAAAAAE9AwAAZwAAAAIAAAABfgEAACgAAAAJPgMAAAEAAAABAAAAAX8BAAApAAAACT8DAAABAAAAAwAAAAGBAQAAYQEAAAoJQAMAAAlBAwAACScBAAAJAQAAAAlCAwAAAYMBAABjAQAAClgCAAABQwMAAOoCAAABAAAAAUQDAADrAgAAAAAAAAFFAwAAFAAAAAwpJkS6TRND4JNiQgAAAAABRgMAAO0CAAAAAAAAAAAQQQEBRwMAACQAAABKUjZEuk0TQwFIAwAAZwAAAAQAAAAAAAAAAAAAAAAJSQMAAAAAAAAJSgMAAAAAAAFLAwAAagAAAAAAAAABTAMAAGsAAAAAACxCAACgQQFNAwAAFAAAAAAAAAAAAAAAAAAAAAAAAABeutk/CYIBAAAKCU4DAAAJ9gIAACADAAD/////AAEKCU8DAAABAAoAB4QBAAAAAQAAAAIAAAAEFVN5c3RlbS5EcmF3aW5nLlBvaW50RgQAAAABUAMAACQAAABKUjZEuk0TQwFRAwAAJAAAAAAANEK6TRNDB4UBAAAAAQAAAAIAAAAEF0FwbG9yaXMuQmFzZS5BbmNob3JNb2RlAwAAAAFSAwAAZwAAAAQAAAABUwMAAGcAAAACAAAAAYYBAAAoAAAACVQDAAABAAAAAQAAAAGHAQAAKQAAAAlVAwAAAQAAAAMAAAABiQEAAGEBAAAKCVYDAAAJVwMAAAkoAQAACQEAAAAJWAMAAAGLAQAAYwEAAApYAgAAAVkDAADqAgAAAQAAAAFaAwAA6wIAAAAAAAABWwMAABQAAAAMKSZEuk0TQ+CTYkIAAAAAAVwDAADtAgAAAAAAAAAAEEEBAV0DAAAkAAAASlI2RLpNE0MBXgMAAGcAAAAEAAAAAAAAAAAAAAAACV8DAAAAAAAACWADAAAAAAABYQMAAGoAAAAAAAAAAWIDAABrAAAAAAAcQgAAoEEBYwMAABQAAAAAAAAAAAAAAAAAAAAAAAAAXrrZPwmKAQAACglkAwAACfYCAAAgAwAA/////wABCgllAwAAAQAKAAeMAQAAAAEAAAACAAAABBVTeXN0ZW0uRHJhd2luZy5Qb2ludEYEAAAAAWYDAAAkAAAASlI2RLpNE0MBZwMAACQAAAAAADRCuk0TQweNAQAAAAEAAAACAAAABBdBcGxvcmlzLkJhc2UuQW5jaG9yTW9kZQMAAAABaAMAAGcAAAAEAAAAAWkDAABnAAAAAgAAAAGOAQAAKAAAAAlqAwAAAQAAAAEAAAABjwEAACkAAAAJawMAAAEAAAADAAAAAZEBAABhAQAACglsAwAACW0DAAAJKQEAAAkBAAAACW4DAAABkwEAAGMBAAAKWAIAAAFvAwAA6gIAAAEAAAABcAMAAOsCAAAAAAAAAXEDAAAUAAAADCkmRLpNE0Pgk2JCAAAAAAFyAwAA7QIAAAAAAAAAABBBAQFzAwAAJAAAAEpSNkS6TRNDAXQDAABnAAAABAAAAAAAAAAAAAAAAAl1AwAAAAAAAAl2AwAAAAAAAXcDAABqAAAAAAAAAAF4AwAAawAAAAAAD0MAAKBBAXkDAAAUAAAAAAAAAAAAAAAAAAAAAAAAAF662T8JkgEAAAoJegMAAAn2AgAAIAMAAP////8AAQoJewMAAAEACgAHlAEAAAABAAAAAgAAAAQVU3lzdGVtLkRyYXdpbmcuUG9pbnRGBAAAAAF8AwAAJAAAAEpSNkS6TRNDAX0DAAAkAAAAAAA0QrpNE0MHlQEAAAABAAAAAgAAAAQXQXBsb3Jpcy5CYXNlLkFuY2hvck1vZGUDAAAAAX4DAABnAAAABAAAAAF/AwAAZwAAAAIAAAABlgEAACgAAAAJgAMAAAEAAAABAAAAAZcBAAApAAAACYEDAAABAAAAAwAAAAGZAQAAYQEAAAoJggMAAAmDAwAACSoBAAAJAQAAAAmEAwAAAZsBAABjAQAAClgCAAABhQMAAOoCAAABAAAAAYYDAADrAgAAAAAAAAGHAwAAFAAAAAwpJkS6TRND4JNiQgAAAAABiAMAAO0CAAAAAAAAAAAQQQEBiQMAACQAAABKUjZEuk0TQwGKAwAAZwAAAAQAAAAAAAAAAAAAAAAJiwMAAAAAAAAJjAMAAAAAAAGNAwAAagAAAAAAAAABjgMAAGsAAAAAAJZCAACgQQGPAwAAFAAAAAAAAAAAAAAAAAAAAAAAAABeutk/CZoBAAAKCZADAAAJ9gIAACADAAD/////AAEKCZEDAAABAAoAB5wBAAAAAQAAAAIAAAAEFVN5c3RlbS5EcmF3aW5nLlBvaW50RgQAAAABkgMAACQAAABKUjZEuk0TQwGTAwAAJAAAAAAANEK6TRNDB50BAAAAAQAAAAIAAAAEF0FwbG9yaXMuQmFzZS5BbmNob3JNb2RlAwAAAAGUAwAAZwAAAAQAAAABlQMAAGcAAAACAAAAAZ4BAAAoAAAACZYDAAABAAAAAQAAAAGfAQAAKQAAAAmXAwAAAQAAAAMAAAABoQEAAGEBAAAKCZgDAAAJmQMAAAkrAQAACQEAAAAJmgMAAAGjAQAAYwEAAApYAgAAAZsDAADqAgAAAQAAAAGcAwAA6wIAAAAAAAABnQMAABQAAAAMKSZEuk0TQ+CTYkIAAAAAAZ4DAADtAgAAAAAAAAAAEEEBAZ8DAAAkAAAASlI2RLpNE0MBoAMAAGcAAAAEAAAAAAAAAAAAAAAACaEDAAAAAAAACaIDAAAAAAABowMAAGoAAAAAAAAAAaQDAABrAAAAAADEQgAAoEEBpQMAABQAAAAAAAAAAAAAAAAAAAAAAAAAXrrZPwmiAQAACgmmAwAACfYCAAAgAwAA/////wABCgmnAwAAAQAKAAekAQAAAAEAAAACAAAABBVTeXN0ZW0uRHJhd2luZy5Qb2ludEYEAAAAAagDAAAkAAAASlI2RLpNE0MBqQMAACQAAAAAADRCuk0TQwelAQAAAAEAAAACAAAABBdBcGxvcmlzLkJhc2UuQW5jaG9yTW9kZQMAAAABqgMAAGcAAAAEAAAAAasDAABnAAAAAgAAAAGmAQAAKAAAAAmsAwAAAQAAAAEAAAABpwEAACkAAAAJrQMAAAEAAAADAAAAAakBAABhAQAACgmuAwAACa8DAAAJLAEAAAkBAAAACbADAAABqwEAAGMBAAAKWAIAAAGxAwAA6gIAAAEAAAABsgMAAOsCAAAAAAAAAbMDAAAUAAAADCkmRLpNE0Pgk2JCAAAAAAG0AwAA7QIAAAAAAAAAABBBAQG1AwAAJAAAAEpSNkS6TRNDAbYDAABnAAAABAAAAAAAAAAAAAAAAAm3AwAAAAAAAAm4AwAAAAAAAbkDAABqAAAAAAAAAAG6AwAAawAAAAAAyEEAAKBBAbsDAAAUAAAAAAAAAAAAAAAAAAAAAAAAAF662T8JqgEAAAoJvAMAAAn2AgAAIAMAAP////8AAQoJvQMAAAEACgAHrAEAAAABAAAAAgAAAAQVU3lzdGVtLkRyYXdpbmcuUG9pbnRGBAAAAAG+AwAAJAAAAEpSNkS6TRNDAb8DAAAkAAAAAAA0QrpNE0MHrQEAAAABAAAAAgAAAAQXQXBsb3Jpcy5CYXNlLkFuY2hvck1vZGUDAAAAAcADAABnAAAABAAAAAHBAwAAZwAAAAIAAAABrgEAACgAAAAJwgMAAAEAAAABAAAAAa8BAAApAAAACcMDAAABAAAAAwAAAAGxAQAAYQEAAAoJxAMAAAnFAwAACS0BAAAJAQAAAAnGAwAAAbMBAABjAQAAClgCAAABxwMAAOoCAAABAAAAAcgDAADrAgAAAAAAAAHJAwAAFAAAAAwpJkS6TRND4JNiQgAAAAABygMAAO0CAAAAAAAAAAAQQQEBywMAACQAAABKUjZEuk0TQwHMAwAAZwAAAAQAAAAAAAAAAAAAAAAJzQMAAAAAAAAJzgMAAAAAAAHPAwAAagAAAAAAAAAB0AMAAGsAAAAAALhCAACgQQHRAwAAFAAAAAAAAAAAAAAAAAAAAAAAAABeutk/CbIBAAAKCdIDAAAJ9gIAACADAAD/////AAEKCdMDAAABAAoAB7QBAAAAAQAAAAIAAAAEFVN5c3RlbS5EcmF3aW5nLlBvaW50RgQAAAAB1AMAACQAAABKUjZEuk0TQwHVAwAAJAAAAAAANEK6TRNDB7UBAAAAAQAAAAIAAAAEF0FwbG9yaXMuQmFzZS5BbmNob3JNb2RlAwAAAAHWAwAAZwAAAAQAAAAB1wMAAGcAAAACAAAAAbYBAAAoAAAACdgDAAABAAAAAQAAAAG3AQAAKQAAAAnZAwAAAQAAAAMAAAABuQEAAGEBAAAKCdoDAAAJ2wMAAAkuAQAACQEAAAAJ3AMAAAG7AQAAYwEAAApYAgAAAd0DAADqAgAAAQAAAAHeAwAA6wIAAAAAAAAB3wMAABQAAAAMKSZEuk0TQ+CTYkIAAAAAAeADAADtAgAAAAAAAAAAEEEBAeEDAAAkAAAASlI2RLpNE0MB4gMAAGcAAAAEAAAAAAAAAAAAAAAACeMDAAAAAAAACeQDAAAAAAAB5QMAAGoAAAAAAAAAAeYDAABrAAAAAACaQgAAoEEB5wMAABQAAAAAAAAAAAAAAAAAAAAAAAAAXrrZPwm6AQAACgnoAwAACfYCAAAgAwAA/////wABCgnpAwAAAQAKAAe8AQAAAAEAAAACAAAABBVTeXN0ZW0uRHJhd2luZy5Qb2ludEYEAAAAAeoDAAAkAAAASlI2RLpNE0MB6wMAACQAAAAAADRCuk0TQwe9AQAAAAEAAAACAAAABBdBcGxvcmlzLkJhc2UuQW5jaG9yTW9kZQMAAAAB7AMAAGcAAAAEAAAAAe0DAABnAAAAAgAAAAG+AQAAKAAAAAnuAwAAAQAAAAEAAAABvwEAACkAAAAJ7wMAAAEAAAADAAAAAcEBAABhAQAACgnwAwAACfEDAAAJLwEAAAkBAAAACfIDAAABwwEAAGMBAAAKWAIAAAHzAwAA6gIAAAEAAAAB9AMAAOsCAAAAAAAAAfUDAAAUAAAADCkmRLpNE0Pgk2JCAAAAAAH2AwAA7QIAAAAAAAAAABBBAQH3AwAAJAAAAEpSNkS6TRNDAfgDAABnAAAABAAAAAAAAAAAAAAAAAn5AwAAAAAAAAn6AwAAAAAAAfsDAABqAAAAAAAAAAH8AwAAawAAAAAAqkIAAKBBAf0DAAAUAAAAAAAAAAAAAAAAAAAAAAAAAF662T8JwgEAAAoJ/gMAAAn2AgAAIAMAAP////8AAQoJ/wMAAAEACgAHxAEAAAABAAAAAgAAAAQVU3lzdGVtLkRyYXdpbmcuUG9pbnRGBAAAAAEABAAAJAAAAEpSNkS6TRNDAQEEAAAkAAAAAAA0QuA26UIHxQEAAAABAAAAAgAAAAQXQXBsb3Jpcy5CYXNlLkFuY2hvck1vZGUDAAAAAQIEAABnAAAABAAAAAEDBAAAZwAAAAIAAAABxgEAACgAAAAJBAQAAAEAAAABAAAAAccBAAApAAAACQUEAAABAAAAAwAAAAHJAQAAYQEAAAoJBgQAAAkHBAAACTABAAAJAQAAAAkIBAAAAcsBAABjAQAAClgCAAABCQQAAOoCAAABAAAAAQoEAADrAgAAAAAAAAELBAAAFAAAAAwpJkS6TRND4JNiQgAAAAABDAQAAO0CAAAAAAAAAAAQQQEBDQQAACQAAABKUjZEuk0TQwEOBAAAZwAAAAQAAAAAAAAAAAAAAAAJDwQAAAAAAAAJEAQAAAAAAAERBAAAagAAAAAAAAABEgQAAGsAAAAAACxCAACgQQETBAAAFAAAAAAAAAAAAAAAAAAAAAAAAABeutk/CcoBAAAKCRQEAAAJ9gIAACADAAD/////AAEKCRUEAAABAAoAB8wBAAAAAQAAAAIAAAAEFVN5c3RlbS5EcmF3aW5nLlBvaW50RgQAAAABFgQAACQAAABKUjZEuk0TQwEXBAAAJAAAAAAANEIoiZBCB80BAAAAAQAAAAIAAAAEF0FwbG9yaXMuQmFzZS5BbmNob3JNb2RlAwAAAAEYBAAAZwAAAAQAAAABGQQAAGcAAAACAAAAAc4BAAAoAAAACRoEAAABAAAAAQAAAAHPAQAAKQAAAAkbBAAAAQAAAAMAAAAB0QEAAGEBAAAKCRwEAAAJHQQAAAkxAQAACQEAAAAJHgQAAAHTAQAAYwEAAApYAgAAAR8EAADqAgAAAQAAAAEgBAAA6wIAAAAAAAABIQQAABQAAAAMKSZEuk0TQ+CTYkIAAAAAASIEAADtAgAAAAAAAAAAEEEBASMEAAAkAAAASlI2RLpNE0MBJAQAAGcAAAAEAAAAAAAAAAAAAAAACSUEAAAAAAAACSYEAAAAAAABJwQAAGoAAAAAAAAAASgEAABrAAAAAACKQgAAoEEBKQQAABQAAAAAAAAAAAAAAAAAAAAAAAAAXrrZPwnSAQAACgkqBAAACfYCAAAgAwAA/////wABCgkrBAAAAQAKAAfUAQAAAAEAAAACAAAABBVTeXN0ZW0uRHJhd2luZy5Qb2ludEYEAAAAASwEAAAkAAAASlI2RLpNE0MBLQQAACQAAAAAADRCBoBqQgfVAQAAAAEAAAACAAAABBdBcGxvcmlzLkJhc2UuQW5jaG9yTW9kZQMAAAABLgQAAGcAAAAEAAAAAS8EAABnAAAAAgAAAAHWAQAAKAAAAAkwBAAAAQAAAAEAAAAB1wEAACkAAAAJMQQAAAEAAAADAAAAAdkBAABhAQAACgkyBAAACTMEAAAJMgEAAAkBAAAACTQEAAAB2wEAAGMBAAAKWAIAAAE1BAAA6gIAAAEAAAABNgQAAOsCAAAAAAAAATcEAAAUAAAADCkmRLpNE0Pgk2JCAAAAAAE4BAAA7QIAAAAAAAAAABBBAQE5BAAAJAAAAEpSNkS6TRNDAToEAABnAAAABAAAAAAAAAAAAAAAAAk7BAAAAAAAAAk8BAAAAAAAAT0EAABqAAAAAAAAAAE+BAAAawAAAAAA+EIAAKBBAT8EAAAUAAAAAAAAAAAAAAAAAAAAAAAAAF662T8J2gEAAAoJQAQAAAn2AgAAIAMAAP////8AAQoJQQQAAAEACgAH3AEAAAABAAAAAgAAAAQVU3lzdGVtLkRyYXdpbmcuUG9pbnRGBAAAAAFCBAAAJAAAAEpSNkS6TRNDAUMEAAAkAAAAAAA0QgaAakIH3QEAAAABAAAAAgAAAAQXQXBsb3Jpcy5CYXNlLkFuY2hvck1vZGUDAAAAAUQEAABnAAAABAAAAAFFBAAAZwAAAAIAAAAB3gEAACgAAAAJRgQAAAEAAAABAAAAAd8BAAApAAAACUcEAAABAAAAAwAAAAHhAQAAYQEAAAoJSAQAAAlJBAAACTMBAAAJAQAAAAlKBAAAAeMBAABjAQAAClgCAAABSwQAAOoCAAABAAAAAUwEAADrAgAAAAAAAAFNBAAAFAAAAAwpJkS6TRND4JNiQgAAAAABTgQAAO0CAAAAAAAAAAAQQQEBTwQAACQAAABKUjZEuk0TQwFQBAAAZwAAAAQAAAAAAAAAAAAAAAAJUQQAAAAAAAAJUgQAAAAAAAFTBAAAagAAAAAAAAABVAQAAGsAAAAAANJCAACgQQFVBAAAFAAAAAAAAAAAAAAAAAAAAAAAAABeutk/CeIBAAAKCVYEAAAJ9gIAACADAAD/////AAEKCVcEAAABAAoAB+QBAAAAAQAAAAIAAAAEFVN5c3RlbS5EcmF3aW5nLlBvaW50RgQAAAABWAQAACQAAABKUjZEuk0TQwFZBAAAJAAAAAAANEIGgGpCB+UBAAAAAQAAAAIAAAAEF0FwbG9yaXMuQmFzZS5BbmNob3JNb2RlAwAAAAFaBAAAZwAAAAQAAAABWwQAAGcAAAACAAAAAeYBAAAoAAAACVwEAAABAAAAAQAAAAHnAQAAKQAAAAldBAAAAQAAAAMAAAAB6QEAAGEBAAAKCV4EAAAJXwQAAAk0AQAACQEAAAAJYAQAAAHrAQAAYwEAAApYAgAAAWEEAADqAgAAAQAAAAFiBAAA6wIAAAAAAAABYwQAABQAAAAMKSZEuk0TQ+CTYkIAAAAAAWQEAADtAgAAAAAAAAAAEEEBAWUEAAAkAAAASlI2RLpNE0MBZgQAAGcAAAAEAAAAAAAAAAAAAAAACWcEAAAAAAAACWgEAAAAAAABaQQAAGoAAAAAAAAAAWoEAABrAAAAAADAQgAAoEEBawQAABQAAAAAAAAAAAAAAAAAAAAAAAAAXrrZPwnqAQAACglsBAAACfYCAAAgAwAA/////wABCgltBAAAAQAKAAfsAQAAAAEAAAACAAAABBVTeXN0ZW0uRHJhd2luZy5Qb2ludEYEAAAAAW4EAAAkAAAASlI2RLpNE0MBbwQAACQAAAAAADRCBoBqQgftAQAAAAEAAAACAAAABBdBcGxvcmlzLkJhc2UuQW5jaG9yTW9kZQMAAAABcAQAAGcAAAAEAAAAAXEEAABnAAAAAgAAAAHuAQAAKAAAAAlyBAAAAQAAAAEAAAAB7wEAACkAAAAJcwQAAAEAAAADAAAAAfEBAABhAQAACgl0BAAACXUEAAAJNQEAAAkBAAAACXYEAAAB8wEAAGMBAAAKWAIAAAF3BAAA6gIAAAEAAAABeAQAAOsCAAAAAAAAAXkEAAAUAAAADCkmRLpNE0Pgk2JCAAAAAAF6BAAA7QIAAAAAAAAAABBBAQF7BAAAJAAAAEpSNkS6TRNDAXwEAABnAAAABAAAAAAAAAAAAAAAAAl9BAAAAAAAAAl+BAAAAAAAAX8EAABqAAAAAAAAAAGABAAAawAAAAAAEEMAAKBBAYEEAAAUAAAAAAAAAAAAAAAAAAAAAAAAAF662T8J8gEAAAoJggQAAAn2AgAAIAMAAP////8AAQoJgwQAAAEACgAH9AEAAAABAAAAAgAAAAQVU3lzdGVtLkRyYXdpbmcuUG9pbnRGBAAAAAGEBAAAJAAAAEpSNkS6TRNDAYUEAAAkAAAAAAA0QgaAakIH9QEAAAABAAAAAgAAAAQXQXBsb3Jpcy5CYXNlLkFuY2hvck1vZGUDAAAAAYYEAABnAAAABAAAAAGHBAAAZwAAAAIAAAAB9gEAACgAAAAJiAQAAAEAAAABAAAAAfcBAAApAAAACYkEAAABAAAAAwAAAAH5AQAAYQEAAAoJigQAAAmLBAAACTYBAAAJAQAAAAmMBAAAAfsBAABjAQAAClgCAAABjQQAAOoCAAABAAAAAY4EAADrAgAAAAAAAAGPBAAAFAAAAAwpJkS6TRND4JNiQgAAAAABkAQAAO0CAAAAAAAAAAAQQQEBkQQAACQAAABKUjZEuk0TQwGSBAAAZwAAAAQAAAAAAAAAAAAAAAAJkwQAAAAAAAAJlAQAAAAAAAGVBAAAagAAAAAAAAABlgQAAGsAAAAAAFBCAACgQQGXBAAAFAAAAAAAAAAAAAAAAAAAAAAAAABeutk/CfoBAAAKCZgEAAAJ9gIAACADAAD/////AAEKCZkEAAABAAoAB/wBAAAAAQAAAAIAAAAEFVN5c3RlbS5EcmF3aW5nLlBvaW50RgQAAAABmgQAACQAAABKUjZEuk0TQwGbBAAAJAAAAAAANEIGgGpCB/0BAAAAAQAAAAIAAAAEF0FwbG9yaXMuQmFzZS5BbmNob3JNb2RlAwAAAAGcBAAAZwAAAAQAAAABnQQAAGcAAAACAAAAAf4BAAAoAAAACZ4EAAABAAAAAQAAAAH/AQAAKQAAAAmfBAAAAQAAAAMAAAABAQIAAGEBAAAKCaAEAAAJoQQAAAk3AQAACQEAAAAJogQAAAEDAgAAYwEAAApYAgAAAaMEAADqAgAAAQAAAAGkBAAA6wIAAAAAAAABpQQAABQAAAAMKSZEuk0TQ+CTYkIAAAAAAaYEAADtAgAAAAAAAAAAEEEBAacEAAAkAAAASlI2RLpNE0MBqAQAAGcAAAAEAAAAAAAAAAAAAAAACakEAAAAAAAACaoEAAAAAAABqwQAAGoAAAAAAAAAAawEAABrAAAAAAAEQwAAoEEBrQQAABQAAAAAAAAAAAAAAAAAAAAAAAAAXrrZPwkCAgAACgmuBAAACfYCAAAgAwAA/////wABCgmvBAAAAQAKAAcEAgAAAAEAAAACAAAABBVTeXN0ZW0uRHJhd2luZy5Qb2ludEYEAAAAAbAEAAAkAAAASlI2RLpNE0MBsQQAACQAAAAAADRCBoBqQgcFAgAAAAEAAAACAAAABBdBcGxvcmlzLkJhc2UuQW5jaG9yTW9kZQMAAAABsgQAAGcAAAAEAAAAAbMEAABnAAAAAgAAAAEGAgAAKAAAAAm0BAAAAQAAAAEAAAABBwIAACkAAAAJtQQAAAEAAAAFAAAAAQkCAABhAQAACgm2BAAACbcEAAAJOAEAAAkBAAAACbgEAAABCwIAAGMBAAAKWAIAAAG5BAAA6gIAAAEAAAABugQAAOsCAAAAAAAAAbsEAAAUAAAADCkmRLpNE0Pgk2JCAAAAAAG8BAAA7QIAAAAAAAAAABBBAQG9BAAAJAAAAEpSNkS6TRNDAb4EAABnAAAABAAAAAAAAAAAAAAAAAm/BAAAAAAAAAnABAAAAAAAAcEEAABqAAAAAAAAAAHCBAAAawAAAAAACUMAAKBBAcMEAAAUAAAAAAAAAAAAAAAAAAAAAAAAAF662T8JCgIAAAoJxAQAAAn2AgAAIAMAAP////8AAQoJxQQAAAEACgAHDAIAAAABAAAAAgAAAAQVU3lzdGVtLkRyYXdpbmcuUG9pbnRGBAAAAAHGBAAAJAAAAEpSNkS6TRNDAccEAAAkAAAAAAA0QgaAakIHDQIAAAABAAAAAgAAAAQXQXBsb3Jpcy5CYXNlLkFuY2hvck1vZGUDAAAAAcgEAABnAAAABAAAAAHJBAAAZwAAAAIAAAABDgIAACgAAAAJygQAAAEAAAABAAAAAQ8CAAApAAAACcsEAAABAAAAAwAAAAERAgAAYQEAAAoJzAQAAAnNBAAACTkBAAAJAQAAAAnOBAAAARMCAABjAQAAClgCAAABzwQAAOoCAAABAAAAAdAEAADrAgAAAAAAAAHRBAAAFAAAAAwpJkQIAF5B4JNiQrptAkMB0gQAAO0CAAAAAAAAAAAQQQEB0wQAACQAAABKUjZEui2eQgHUBAAAZwAAAAQAAAAAAAAAAAAAAAAJ1QQAAAAAAAAJ1gQAAAAAAAHXBAAAagAAAAAAAAAB2AQAAGsAAAAAABxCAACgQQHZBAAAFAAAAAAAAAAAAAAAAAAAAAAAAABeutk/CRICAAAKCdoEAAAJ9gIAACADAAD/////AAEKCdsEAAABAAoABxQCAAAAAQAAAAIAAAAEFVN5c3RlbS5EcmF3aW5nLlBvaW50RgQAAAAB3AQAACQAAABKUjZEui2eQgHdBAAAJAAAAAAANEIEAAtCBxUCAAAAAQAAAAIAAAAEF0FwbG9yaXMuQmFzZS5BbmNob3JNb2RlAwAAAAHeBAAAZwAAAAQAAAAB3wQAAGcAAAACAAAAARYCAAAoAAAACeAEAAABAAAAAQAAAAEXAgAAKQAAAAnhBAAAAQAAAAEAAAABGAIAABcAAAAB4gQAACQAAAAAACBBcLt9QwHjBAAAZwAAAAQAAAAAAADIQQAAAAAJ5AQAAAAAh0MJ5QQAAAAAAAHmBAAAagAAAAAAAAAB5wQAAGsAAAAAALBBAABwQQHoBAAAFAAAAAAADEK3bYNDVCCSQbdtK0HHS6M/CRoCAAAKCekEAAAJ9gIAACADAAD/////AQEKCeoEAAABAAoABRkCAACjAUFwbG9yaXMuQmFzZS5PYmplY3RzLkRhdGFPYmplY3RDb2xsZWN0aW9uYDFbW0FwbG9yaXMuQ2hhcnQuQW5ub3RhdGlvbkVsZW1lbnQsIEFwbG9yaXMuQ2hhcnQsIFZlcnNpb249NC4xLjAuMTY0NCwgQ3VsdHVyZT1uZXV0cmFsLCBQdWJsaWNLZXlUb2tlbj0xNmZjMTNhMjI2YzBlOTUxXV0GAAAAC21Db2xsZWN0aW9uBW1MaXN0GERhdGFPYmplY3QrbUNoaWxkT2JqZWN0cxJEYXRhT2JqZWN0K21QYXJlbnQVRGF0YU9iamVjdCttQ29udGFpbmVyGURhdGFPYmplY3QrbVZpc3VhbE9iamVjdHMEAwMEBAOhAUFwbG9yaXMuQmFzZS5PYmplY3RzLlNvcnRhYmxlQ29sbGVjdGlvbmAxW1tBcGxvcmlzLkNoYXJ0LkFubm90YXRpb25FbGVtZW50LCBBcGxvcmlzLkNoYXJ0LCBWZXJzaW9uPTQuMS4wLjE2NDQsIEN1bHR1cmU9bmV1dHJhbCwgUHVibGljS2V5VG9rZW49MTZmYzEzYTIyNmMwZTk1MV1dAwAAAJkBU3lzdGVtLkNvbGxlY3Rpb25zLkdlbmVyaWMuTGlzdGAxW1tBcGxvcmlzLkNoYXJ0LkFubm90YXRpb25FbGVtZW50LCBBcGxvcmlzLkNoYXJ0LCBWZXJzaW9uPTQuMS4wLjE2NDQsIEN1bHR1cmU9bmV1dHJhbCwgUHVibGljS2V5VG9rZW49MTZmYzEzYTIyNmMwZTk1MV1dmAFTeXN0ZW0uQ29sbGVjdGlvbnMuR2VuZXJpYy5MaXN0YDFbW0FwbG9yaXMuQmFzZS5PYmplY3RzLkRhdGFPYmplY3QsIEFwbG9yaXMuQmFzZSwgVmVyc2lvbj00LjEuMC4xNjQ0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EuMC4xNjQ0LCBDdWx0dXJlPW5ldXRyYWwsIFB1YmxpY0tleVRva2VuPTE2ZmMxM2EyMjZjMGU5NTFdXQMAAAAKCesEAAAJ7AQAAAk6AQAACQEAAAAJ7QQAAAUbAg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CAQACAAAiQXBsb3Jpcy5DaGFydC5Bbm5vdGF0aW9uRGF0YVNlcmllcwIAAAAhQXBsb3Jpcy5DaGFydC5Db2x1bW5PcmllbnRlZENoYXJ0AgAAAAgBCAgBCAgIAgAAAAk6AQAACQEAAAAAAAAAAAbuBAAAAS4DAAAACXIAAAAG7wQAAAEtBvAEAAABKwEAAAAACgoJdQAAAAAAAAAKAAAAAAAAAAAFHAIAACdBcGxvcmlzLkNoYXJ0LlN0YW5kYXJkTWFnbml0dWRlUHJvdmlkZXIEAAAAEm1NYWduaXR1ZGVBYnNvbHV0ZRFtTWFnbml0dWRlUGVyY2VudBJtQWJzb2x1dGVWYXJpYWJsZXMRbVBlcmNlbnRWYXJpYWJsZXMAAAcHCAgICAIAAAAAAAAAAAAAAAnxBAAACfIEAAABHQIAACgAAAAJ8wQAAAIAAAACAAAAAR4CAAApAAAACfQEAAABAAAAAQAAAA8hAgAAAQAAAAgAAAAAByICAAAAAQAAAAEAAAAEFUFwbG9yaXMuQmFzZS5VSS5MYWJlbAMAAAAJ9QQAAAEjAgAAFwAAAAH2BAAAJAAAALKaYkKVhCNDAfcEAABnAAAAAwAAAAAAAIBAAAAAAAn4BAAAAACHQwn5BAAAAAAAAfoEAABqAAAAAAAAAAH7BAAAawAAAAAALEIAAHBBAfwEAAAUAAAA3LZNQiVJR0MrEAVCt20rQcdLoz8JHwIAAAoJ/QQAAAn2AgAAIAMAAP////8BAQoJ/gQAAAEACgABJAIAACgAAAAJ/gAAAAAAAAAAAAAAASUCAAApAAAACf8EAAACAAAAAgAAAA8oAgAAAQAAAAgAAAAABykCAAAAAQAAAAEAAAAEFUFwbG9yaXMuQmFzZS5VSS5MYWJlbAMAAAAJAAUAAAEqAgAAFwAAAAEBBQAAJAAAAF8+ikKVhCNDAQIFAABnAAAAAwAAAAAAAIBAAAAAAAkDBQAAAACHQwkEBQAAAAAAAQUFAABqAAAAAAAAAAEGBQAAawAAAAAAEEIAAHBBAQcFAAAUAAAAJUl+QiVJQkNVIOJBt20rQcdLoz8JJgIAAAoJCAUAAAn2AgAAIAMAAP////8BAQoJCQUAAAEACgABKwIAACgAAAAJ/gAAAAAAAAAAAAAAASwCAAApAAAACQoFAAACAAAAAgAAAA8vAgAAAQAAAAgAAAAABzACAAAAAQAAAAEAAAAEFUFwbG9yaXMuQmFzZS5VSS5MYWJlbAMAAAAJCwUAAAExAgAAFwAAAAEMBQAAJAAAABAQoUKVhCNDAQ0FAABnAAAAAwAAAAAAAIBAAAAAAAkOBQAAAACHQwkPBQAAAAAAARAFAABqAAAAAAAAAAERBQAAawAAAAAAbEIAAHBBARIFAAAUAAAAAACWQty2UkMGxzJCt20rQcdLoz8JLQIAAAoJEwUAAAn2AgAAIAMAAP////8BAQoJFAUAAAEACgABMgIAACgAAAAJ/gAAAAAAAAAAAAAAATMCAAApAAAACRUFAAACAAAAAgAAAA82AgAAAQAAAAgAAAAABzcCAAAAAQAAAAEAAAAEFUFwbG9yaXMuQmFzZS5VSS5MYWJlbAMAAAAJFgUAAAE4AgAAFwAAAAEXBQAAJAAAABYEA0OVhCNDARgFAABnAAAAAwAAAAAAAIBAAAAAAAkZBQAAAACHQwkaBQAAAAAAARsFAABqAAAAAAAAAAEcBQAAawAAAAAACEIAAHBBAR0FAAAUAAAAt237Qm7bQEOestZBt20rQcdLoz8JNAIAAAoJHgUAAAn2AgAAIAMAAP////8BAQoJHwUAAAEACgABOQIAACgAAAAJ/gAAAAAAAAAAAAAAAToCAAApAAAACSAFAAACAAAAAgAAAA89AgAAAQAAAAgAAAAABz4CAAAAAQAAAAEAAAAEFUFwbG9yaXMuQmFzZS5VSS5MYWJlbAMAAAAJIQUAAAE/AgAAFwAAAAEiBQAAJAAAAEjtSUOVhCNDASMFAABnAAAAAwAAAAAAAIBAAAAAAAkkBQAAAACHQwklBQAAAAAAASYFAABqAAAAAAAAAAEnBQAAawAAAAAADEIAAHBBASgFAAAUAAAAt21EQ0mSQUN6adxBt20rQcdLoz8JOwIAAAoJKQUAAAn2AgAAIAMAAP////8BAQoJKgUAAAEACgABQAIAACgAAAAJ/gAAAAAAAAAAAAAAAUECAAApAAAACSsFAAACAAAAAgAAAA9EAgAAAQAAAAgAAAAAB0UCAAAAAQAAAAEAAAAEFUFwbG9yaXMuQmFzZS5VSS5MYWJlbAMAAAAJLAUAAAFGAgAAFwAAAAEtBQAAJAAAAIzGZ0OVhCNDAS4FAABnAAAAAwAAAAAAAIBAAAAAAAkvBQAAAACHQwkwBQAAAAAAATEFAABqAAAAAAAAAAEyBQAAawAAAAAAOEIAAHBBATMFAAAUAAAAt21iQ7dtSUN0og1Ct20rQcdLoz8JQgIAAAoJNAUAAAn2AgAAIAMAAP////8BAQoJNQUAAAEACgABRwIAACgAAAAJ/gAAAAAAAAAAAAAAAUgCAAApAAAACTYFAAACAAAAAgAAAA9LAgAAAQAAAAgAAAAAB0wCAAAAAQAAAAEAAAAEFUFwbG9yaXMuQmFzZS5VSS5MYWJlbAMAAAAJNwUAAAFNAgAAFwAAAAE4BQAAJAAAAOZPb0OVhCNDATkFAABnAAAAAwAAAAAAAIBAAAAAAAk6BQAAAACHQwk7BQAAAAAAATwFAABqAAAAAAAAAAE9BQAAawAAAAAAFEIAAHBBAT4FAAAUAAAAJUlqQwAAQ0Mx1+dBt20rQcdLoz8JSQIAAAoJPwUAAAn2AgAAIAMAAP////8BAQoJQAUAAAEACgABTgIAACgAAAAJ/gAAAAAAAAAAAAAAAU8CAAApAAAACUEFAAACAAAAAgAAAA9SAgAAAQAAAAgAAAAAB1MCAAAAAQAAAAEAAAAEFUFwbG9yaXMuQmFzZS5VSS5MYWJlbAMAAAAJQgUAAAFUAgAAFwAAAAFDBQAAJAAAAPytdkOVhCNDAUQFAABnAAAAAwAAAAAAAIBAAAAAAAlFBQAAAACHQwlGBQAAAAAAAUcFAABqAAAAAAAAAAFIBQAAawAAAAAAJEIAAHBBAUkFAAAUAAAAt21xQ27bRUOesv5Bt20rQcdLoz8JUAIAAAoJSgUAAAn2AgAAIAMAAP////8BAQoJSwUAAAEACgABVQIAACgAAAAJ/gAAAAAAAAAAAAAAAVYCAAApAAAACUwFAAACAAAAAgAAAA9ZAgAAAQAAAAgAAAAAB1oCAAAAAQAAAAEAAAAEFUFwbG9yaXMuQmFzZS5VSS5MYWJlbAMAAAAJTQUAAAFbAgAAFwAAAAFOBQAAJAAAALXeg0OVhCNDAU8FAABnAAAAAwAAAAAAAIBAAAAAAAlQBQAAAACHQwlRBQAAAAAAAVIFAABqAAAAAAAAAAFTBQAAawAAAAAANEIAAHBBAVQFAAAUAAAAJUmBQ9y2SEMGxwpCt20rQcdLoz8JVwIAAAoJVQUAAAn2AgAAIAMAAP////8BAQoJVgUAAAEACgABXAIAACgAAAAJ/gAAAAAAAAAAAAAAAV0CAAApAAAACVcFAAACAAAAAgAAAA9gAgAAAQAAAAgAAAAAB2ECAAAAAQAAAAEAAAAEFUFwbG9yaXMuQmFzZS5VSS5MYWJlbAMAAAAJWAUAAAFiAgAAFwAAAAFZBQAAJAAAABSQoEOVhCNDAVoFAABnAAAAAwAAAAAAAIBAAAAAAAlbBQAAAACHQwlcBQAAAAAAAV0FAABqAAAAAAAAAAFeBQAAawAAAAAABEIAAHBBAV8FAAAUAAAAbtudQ5MkQEPD+9BBt20rQcdLoz8JXgIAAAoJYAUAAAn2AgAAIAMAAP////8BAQoJYQUAAAEACgABYwIAACgAAAAJ/gAAAAAAAAAAAAAAAWQCAAApAAAACWIFAAACAAAAAgAAAA9nAgAAAQAAAAgAAAAAB2gCAAAAAQAAAAEAAAAEFUFwbG9yaXMuQmFzZS5VSS5MYWJlbAMAAAAJYwUAAAFpAgAAFwAAAAFkBQAAJAAAALzjuUOVhCNDAWUFAABnAAAAAwAAAAAAAIBAAAAAAAlmBQAAAACHQwlnBQAAAAAAAWgFAABqAAAAAAAAAAFpBQAAawAAAAAAIEIAAHBBAWoFAAAUAAAA3Da3Q5MkRUPD+/hBt20rQcdLoz8JZQIAAAoJawUAAAn2AgAAIAMAAP////8BAQoJbAUAAAEACgABagIAACgAAAAJ/gAAAAAAAAAAAAAAAWsCAAApAAAACW0FAAACAAAAAgAAAA9uAgAAAQAAAAgAAAAAB28CAAAAAQAAAAEAAAAEFUFwbG9yaXMuQmFzZS5VSS5MYWJlbAMAAAAJbgUAAAFwAgAAFwAAAAFvBQAAJAAAAN6mv0OVhCNDAXAFAABnAAAAAwAAAAAAAIBAAAAAAAlxBQAAAACHQwlyBQAAAAAAAXMFAABqAAAAAAAAAAF0BQAAawAAAAAAJEIAAHBBAXUFAAAUAAAAt+28Q27bRUOesv5Bt20rQcdLoz8JbAIAAAoJdgUAAAn2AgAAIAMAAP////8BAQoJdwUAAAEACgABcQIAACgAAAAJ/gAAAAAAAAAAAAAAAXICAAApAAAACXgFAAACAAAAAgAAAA91AgAAAQAAAAgAAAAAB3YCAAAAAQAAAAEAAAAEFUFwbG9yaXMuQmFzZS5VSS5MYWJlbAMAAAAJeQUAAAF3AgAAFwAAAAF6BQAAJAAAALq4xUOVhCNDAXsFAABnAAAAAwAAAAAAAIBAAAAAAAl8BQAAAACHQwl9BQAAAAAAAX4FAABqAAAAAAAAAAF/BQAAawAAAAAAEEIAAHBBAYAFAAAUAAAAAADDQyVJQkNVIOJBt20rQcdLoz8JcwIAAAoJgQUAAAn2AgAAIAMAAP////8BAQoJggUAAAEACgABeAIAACgAAAAJ/gAAAAAAAAAAAAAAAXkCAAApAAAACYMFAAACAAAAAgAAAA98AgAAAQAAAAgAAAAAB30CAAAAAQAAAAEAAAAEFUFwbG9yaXMuQmFzZS5VSS5MYWJlbAMAAAAJhAUAAAF+AgAAFwAAAAGFBQAAJAAAAFUbz0OVhCNDAYYFAABnAAAAAwAAAAAAAIBAAAAAAAmHBQAAAACHQwmIBQAAAAAAAYkFAABqAAAAAAAAAAGKBQAAawAAAAAAfEIAAHBBAYsFAAAUAAAAJUnMQ0mSVUO8ND5Ct20rQcdLoz8JegIAAAoJjAUAAAn2AgAAIAMAAP////8BAQoJjQUAAAEACgABfwIAACgAAAAJ/gAAAAAAAAAAAAAAAYACAAApAAAACY4FAAACAAAAAgAAAA+DAgAAAQAAAAgAAAAAB4QCAAAAAQAAAAEAAAAEFUFwbG9yaXMuQmFzZS5VSS5MYWJlbAMAAAAJjwUAAAGFAgAAFwAAAAGQBQAAJAAAAApq2EOVhCNDAZEFAABnAAAAAwAAAAAAAIBAAAAAAAmSBQAAAACHQwmTBQAAAAAAAZQFAABqAAAAAAAAAAGVBQAAawAAAAAAmEIAAHBBAZYFAAAUAAAASZLVQ27bXkNPWWNCt20rQcdLoz8JgQIAAAoJlwUAAAn2AgAAIAMAAP////8BAQoJmAUAAAEACgABhgIAACgAAAAJ/gAAAAAAAAAAAAAAAYcCAAApAAAACZkFAAACAAAAAgAAAA+KAgAAAQAAAAgAAAAAB4sCAAAAAQAAAAEAAAAEFUFwbG9yaXMuQmFzZS5VSS5MYWJlbAMAAAAJmgUAAAGMAgAAFwAAAAGbBQAAJAAAALCB90OVhCNDAZwFAABnAAAAAwAAAAAAAIBAAAAAAAmdBQAAAACHQwmeBQAAAAAAAZ8FAABqAAAAAAAAAAGgBQAAawAAAAAAPEIAAHBBAaEFAAAUAAAAAAD1Q5MkSkPhfRBCt20rQcdLoz8JiAIAAAoJogUAAAn2AgAAIAMAAP////8BAQoJowUAAAEACgABjQIAACgAAAAJ/gAAAAAAAAAAAAAAAY4CAAApAAAACaQFAAACAAAAAgAAAA+RAgAAAQAAAAgAAAAAB5ICAAAAAQAAAAEAAAAEFUFwbG9yaXMuQmFzZS5VSS5MYWJlbAMAAAAJpQUAAAGTAgAAFwAAAAGmBQAAJAAAAMrRE0SVhCNDAacFAABnAAAAAwAAAAAAAIBAAAAAAAmoBQAAAACHQwmpBQAAAAAAAaoFAABqAAAAAAAAAAGrBQAAawAAAAAAsEEAAHBBAawFAAAUAAAAt20SRCVJOENUIJJBt20rQcdLoz8JjwIAAAoJrQUAAAn2AgAAIAMAAP////8BAQoJrgUAAAEACgABlAIAACgAAAAJ/gAAAAAAAAAAAAAAAZUCAAApAAAACa8FAAACAAAAAgAAAA+YAgAAAQAAAAgAAAAAB5kCAAAAAQAAAAEAAAAEFUFwbG9yaXMuQmFzZS5VSS5MYWJlbAMAAAAJsAUAAAGaAgAAFwAAAAGxBQAAJAAAAPQFIESVhCNDAbIFAABnAAAAAwAAAAAAAIBAAAAAwAmzBQAAAACHQwm0BQAAAAAAAbUFAABqAAAAAAAAAAG2BQAAawAAAAAAJEIAAHBBAbcFAAAUAAAA3DYeRG7bRUOesv5Bt20rQcdLoz8JlgIAAAoJuAUAAAn2AgAAIAMAAP////8BAQoJuQUAAAEACgABmwIAACgAAAAJ/gAAAAAAAAAAAAAAAZwCAAApAAAACboFAAACAAAAAgAAAA+fAgAAAQAAAAgAAAAAB6ACAAAAAQAAAAEAAAAEFUFwbG9yaXMuQmFzZS5VSS5MYWJlbAMAAAAJuwUAAAGhAgAAFwAAAAG8BQAAJAAAAAyrI0SVhCNDAb0FAABnAAAAAwAAAAAAAIBAAAAAQAm+BQAAAACHQwm/BQAAAAAAAcAFAABqAAAAAAAAAAHBBQAAawAAAAAALEIAAHBBAcIFAAAUAAAAbtsiRCVJR0MrEAVCt20rQcdLoz8JnQIAAAoJwwUAAAn2AgAAIAMAAP////8BAQoJxAUAAAEACgABogIAACgAAAAJ/gAAAAAAAAAAAAAAAaMCAAApAAAACcUFAAACAAAAAgAAAA+mAgAAAQAAAAgAAAAAB6cCAAAAAQAAAAEAAAAEFUFwbG9yaXMuQmFzZS5VSS5MYWJlbAMAAAAJxgUAAAGoAgAAFwAAAAHHBQAAJAAAAKs9LUSVhCNDAcgFAABnAAAAAwAAAAAAAIBAAAAAAAnJBQAAAACHQwnKBQAAAAAAAcsFAABqAAAAAAAAAAHMBQAAawAAAAAA2EEAAHBBAc0FAAAUAAAA3PYrRG7bO0Odsq5Bt20rQcdLoz8JpAIAAAoJzgUAAAn2AgAAIAMAAP////8BAQoJzwUAAAEACgABqQIAACgAAAAJ/gAAAAAAAAAAAAAAAaoCAAApAAAACdAFAAACAAAAAgAAAAGrAgAAMwAAAAHRBQAAJAAAAAAASEK6TRNDAdIFAAAkAAAAAABIQrpNF0MJ0wUAAMwBAAD/////AQEKCdQFAAABAAoAAawCAAAXAAAAAdUFAAAkAAAAAABIQrrNGEMB1gUAAGcAAAADAAAAAAAAAAAAAAAACdcFAAAAAAAACdgFAAAAAAAB2QUAAGoAAAAAAAAAAdoFAABrAAAAAADAQAAAcEEB2wUAABQAAADctjlCbtsYQ3XK2kC3bStBx0ujPwbcBQAAATAKCd0FAAAJ9gIAANACAAD/////AQEKCd4FAAABAAoAAa8CAAAoAAAACd8FAAAAAAAAAAAAAAGwAgAAKQAAAAngBQAAAgAAAAIAAAABsQIAADMAAAAB4QUAACQAAAAuL+tCuk0TQwHiBQAAJAAAAC4v60K6TRdDCeMFAADMAQAA/////wEBCgnkBQAAAQAKAAGyAgAAFwAAAAHlBQAAJAAAAC4v60K6zRhDAeYFAABnAAAAAwAAAAAAAAAAAAAAAAnnBQAAAAAAAAnoBQAAAAAAAekFAABqAAAAAAAAAAHqBQAAawAAAAAAQEEAAHBBAesFAAAUAAAAJUngQm7bGEOE9zFBt20rQcdLoz8G7AUAAAI1MAoJ7QUAAAn2AgAA0AIAAP////8BAQoJ7gUAAAEACgABtQIAACgAAAAJ3wUAAAAAAAAAAAAAAbYCAAApAAAACe8FAAACAAAAAgAAAAG3AgAAMwAAAAHwBQAAJAAAAC4vOUO6TRNDAfEFAAAkAAAALi85Q7pNF0MJ8gUAAMwBAAD/////AQEKCfMFAAABAAoAAbgCAAAXAAAAAfQFAAAkAAAALi85Q7rNGEMB9QUAAGcAAAADAAAAAAAAAAAAAAAACfYFAAAAAAAACfcFAAAAAAAB+AUAAGoAAAAAAAAAAfkFAABrAAAAAACYQQAAcEEB+gUAABQAAACSJDFDbtsYQ8L7gEG3bStBx0ujPwb7BQAAAzEwMAoJ/AUAAAn2AgAA0AIAAP////8BAQoJ/QUAAAEACgABuwIAACgAAAAJ3wUAAAAAAAAAAAAAAbwCAAApAAAACf4FAAACAAAAAgAAAAG9AgAAMwAAAAH/BQAAJAAAAMXGfEO6TRNDAQAGAAAkAAAAxcZ8Q7pNF0MJAQYAAMwBAAD/////AQEKCQIGAAABAAoAAb4CAAAXAAAAAQMGAAAkAAAAxcZ8Q7rNGEMBBAYAAGcAAAADAAAAAAAAAAAAAAAACQUGAAAAAAAACQYGAAAAAAABBwYAAGoAAAAAAAAAAQgGAABrAAAAAACYQQAAcEEBCQYAABQAAAAAAHVDbtsYQ8L7gEG3bStBx0ujPwYKBgAAAzE1MAoJCwYAAAn2AgAA0AIAAP////8BAQoJDAYAAAEACgABwQIAACgAAAAJ3wUAAAAAAAAAAAAAAcICAAApAAAACQ0GAAACAAAAAgAAAAHDAgAAMwAAAAEOBgAAJAAAAC4voEO6TRNDAQ8GAAAkAAAALi+gQ7pNF0MJEAYAAMwBAAD/////AQEKCREGAAABAAoAAcQCAAAXAAAAARIGAAAkAAAALi+gQ7rNGEMBEwYAAGcAAAADAAAAAAAAAAAAAAAACRQGAAAAAAAACRUGAAAAAAABFgYAAGoAAAAAAAAAARcGAABrAAAAAACYQQAAcEEBGAYAABQAAABJEpxDbtsYQ8L7gEG3bStBx0ujPwYZBgAAAzIwMAoJGgYAAAn2AgAA0AIAAP////8BAQoJGwYAAAEACgABxwIAACgAAAAJ3wUAAAAAAAAAAAAAAcgCAAApAAAACRwGAAACAAAAAgAAAAHJAgAAMwAAAAEdBgAAJAAAAPr6wUO6TRNDAR4GAAAkAAAA+vrBQ7pNF0MJHwYAAMwBAAD/////AQEKCSAGAAABAAoAAcoCAAAXAAAAASEGAAAkAAAA+vrBQ7rNGEMBIgYAAGcAAAADAAAAAAAAAAAAAAAACSMGAAAAAAAACSQGAAAAAAABJQYAAGoAAAAAAAAAASYGAABrAAAAAACYQQAAcEEBJwYAABQAAAAAAL5DbtsYQ8L7gEG3bStBx0ujPwYoBgAAAzI1MAoJKQYAAAn2AgAA0AIAAP////8BAQoJKgYAAAEACgABzQIAACgAAAAJ3wUAAAAAAAAAAAAAAc4CAAApAAAACSsGAAACAAAAAgAAAAHPAgAAMwAAAAEsBgAAJAAAAMXG40O6TRNDAS0GAAAkAAAAxcbjQ7pNF0MJLgYAAMwBAAD/////AQEKCS8GAAABAAoAAdACAAAXAAAAATAGAAAkAAAAxcbjQ7rNGEMBMQYAAGcAAAADAAAAAAAAAAAAAAAACTIGAAAAAAAACTMGAAAAAAABNAYAAGoAAAAAAAAAATUGAABrAAAAAACYQQAAcEEBNgYAABQAAABJkt9DbtsYQ8L7gEG3bStBx0ujPwY3BgAAAzMwMAoJOAYAAAn2AgAA0AIAAP////8BAQoJOQYAAAEACgAB0wIAACgAAAAJ3wUAAAAAAAAAAAAAAdQCAAApAAAACToGAAACAAAAAgAAAAHVAgAAMwAAAAE7BgAAJAAAAEjJAkS6TRNDATwGAAAkAAAASMkCRLpNF0MJPQYAAMwBAAD/////AQEKCT4GAAABAAoAAdYCAAAXAAAAAT8GAAAkAAAASMkCRLrNGEMBQAYAAGcAAAADAAAAAAAAAAAAAAAACUEGAAAAAAAACUIGAAAAAAABQwYAAGoAAAAAAAAAAUQGAABrAAAAAACYQQAAcEEBRQYAABQAAAAAwABEbtsYQ8L7gEG3bStBx0ujPwZGBgAAAzM1MAoJRwYAAAn2AgAA0AIAAP////8BAQoJSAYAAAEACgAB2QIAACgAAAAJ3wUAAAAAAAAAAAAAAdoCAAApAAAACUkGAAACAAAAAgAAAAHbAgAAMwAAAAFKBgAAJAAAAC6vE0S6TRNDAUsGAAAkAAAALq8TRLpNF0MJTAYAAMwBAAD/////AQEKCU0GAAABAAoAAdwCAAAXAAAAAU4GAAAkAAAALq8TRLrNGEMBTwYAAGcAAAADAAAAAAAAAAAAAAAACVAGAAAAAAAACVEGAAAAAAABUgYAAGoAAAAAAAAAAVMGAABrAAAAAACYQQAAcEEBVAYAABQAAADcthFEbtsYQ8L7gEG3bStBx0ujPwZVBgAAAzQwMAoJVgYAAAn2AgAA0AIAAP////8BAQoJVwYAAAEACgAB3wIAACgAAAAJ3wUAAAAAAAAAAAAAAeACAAApAAAACVgGAAACAAAAAgAAAAHhAgAAMwAAAAFZBgAAJAAAABSVJES6TRNDAVoGAAAkAAAAFJUkRLpNF0MJWwYAAMwBAAD/////AQEKCVwGAAABAAoAAeICAAAXAAAAAV0GAAAkAAAAFJUkRLrNGEMBXgYAAGcAAAADAAAAAAAAAAAAAAAACV8GAAAAAAAACWAGAAAAAAABYQYAAGoAAAAAAAAAAWIGAABrAAAAAADoQQAAcEEBYwYAABQAAABumyFEbtsYQ1UgukG3bStBx0ujPwZkBgAABDQ1ME0KCWUGAAAGZgYAAAFN0AIAAP////8BAQoJZwYAAAEACgAB5QIAACgAAAAJ3wUAAAAAAAAAAAAAAeYCAAApAAAACWgGAAACAAAAAgAAAATnAgAAmAFTeXN0ZW0uQ29sbGVjdGlvbnMuR2VuZXJpYy5MaXN0YDFbW0FwbG9yaXMuQ2hhcnQuQ2hhcnREYXRhRWxlbWVudCwgQXBsb3Jpcy5DaGFydCwgVmVyc2lvbj00LjEuMC4xNjQ0LCBDdWx0dXJlPW5ldXRyYWwsIFB1YmxpY0tleVRva2VuPTE2ZmMxM2EyMjZjMGU5NTFdXQMAAAAGX2l0ZW1zBV9zaXplCF92ZXJzaW9uBAAAIEFwbG9yaXMuQ2hhcnQuQ2hhcnREYXRhRWxlbWVudFtdAgAAAAgICWkGAAAUAAAAWgAAAAHoAgAAKAAAAAlqBgAAFAAAABYAAAAB6QIAACkAAAAJ+gAAAAAAAAAAAAAABfAC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jAQAACgAAAAAAQEEJhwAAAAoJawYAAAEACWwGAAAB8QIAAGkAAAAKCgAAAAD///8ADgAAAAABAfUCAABuAAAACW0GAAABAAAAAQAAAAH3AgAAcAAAAAluBgAACgf8AgAAAAEAAAAEAAAABB9BcGxvcmlzLkJhc2UuT2JqZWN0cy5EYXRhT2JqZWN0AwAAAAlhAQAADQMH/QIAAAABAAAABAAAAAQcQXBsb3Jpcy5CYXNlLlVJLlZpc3VhbE9iamVjdAMAAAAJYwEAAA0DAf4CAADnAgAACW8GAAAUAAAAWgAAAAH/AgAAKAAAAAlwBgAAFAAAABYAAAABAAMAACkAAAAJ+gAAAAAAAAAAAAAABQc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kAQAACgAAAAAAQEEJhwAAAAoJcQYAAAEACXIGAAABCAMAAGkAAAAKCgAAAAD///8ADgAAAAABAQwDAABuAAAACXMGAAABAAAAAQAAAAENAwAAcAAAAAl0BgAACgcSAwAAAAEAAAAEAAAABB9BcGxvcmlzLkJhc2UuT2JqZWN0cy5EYXRhT2JqZWN0AwAAAAlpAQAADQMHEwMAAAABAAAABAAAAAQcQXBsb3Jpcy5CYXNlLlVJLlZpc3VhbE9iamVjdAMAAAAJawEAAA0DARQDAADnAgAACXUGAAAUAAAAWgAAAAEVAwAAKAAAAAl2BgAAFAAAABYAAAABFgMAACkAAAAJ+gAAAAAAAAAAAAAABR0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lAQAACgAAAAAAQEEJhwAAAAoJdwYAAAEACXgGAAABHgMAAGkAAAAKCgAAAAD///8ADgAAAAABASIDAABuAAAACXkGAAABAAAAAQAAAAEjAwAAcAAAAAl6BgAACgcoAwAAAAEAAAAEAAAABB9BcGxvcmlzLkJhc2UuT2JqZWN0cy5EYXRhT2JqZWN0AwAAAAlxAQAADQMHKQMAAAABAAAABAAAAAQcQXBsb3Jpcy5CYXNlLlVJLlZpc3VhbE9iamVjdAMAAAAJcwEAAA0DASoDAADnAgAACXsGAAAUAAAAWgAAAAErAwAAKAAAAAl8BgAAFAAAABYAAAABLAMAACkAAAAJ+gAAAAAAAAAAAAAABTM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mAQAACgAAAAAAQEEJhwAAAAoJfQYAAAEACX4GAAABNAMAAGkAAAAKCgAAAAD///8ADgAAAAABATgDAABuAAAACX8GAAABAAAAAQAAAAE5AwAAcAAAAAmABgAACgc+AwAAAAEAAAAEAAAABB9BcGxvcmlzLkJhc2UuT2JqZWN0cy5EYXRhT2JqZWN0AwAAAAl5AQAADQMHPwMAAAABAAAABAAAAAQcQXBsb3Jpcy5CYXNlLlVJLlZpc3VhbE9iamVjdAMAAAAJewEAAA0DAUADAADnAgAACYEGAAAUAAAAWgAAAAFBAwAAKAAAAAmCBgAAFAAAABYAAAABQgMAACkAAAAJ+gAAAAAAAAAAAAAABUk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nAQAACgAAAAAAQEEJhwAAAAoJgwYAAAEACYQGAAABSgMAAGkAAAAKCgAAAAD///8ADgAAAAABAU4DAABuAAAACYUGAAABAAAAAQAAAAFPAwAAcAAAAAmGBgAACgdUAwAAAAEAAAAEAAAABB9BcGxvcmlzLkJhc2UuT2JqZWN0cy5EYXRhT2JqZWN0AwAAAAmBAQAADQMHVQMAAAABAAAABAAAAAQcQXBsb3Jpcy5CYXNlLlVJLlZpc3VhbE9iamVjdAMAAAAJgwEAAA0DAVYDAADnAgAACYcGAAAUAAAAWgAAAAFXAwAAKAAAAAmIBgAAFAAAABYAAAABWAMAACkAAAAJ+gAAAAAAAAAAAAAABV8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oAQAACgAAAAAAQEEJhwAAAAoJiQYAAAEACYoGAAABYAMAAGkAAAAKCgAAAAD///8ADgAAAAABAWQDAABuAAAACYsGAAABAAAAAQAAAAFlAwAAcAAAAAmMBgAACgdqAwAAAAEAAAAEAAAABB9BcGxvcmlzLkJhc2UuT2JqZWN0cy5EYXRhT2JqZWN0AwAAAAmJAQAADQMHawMAAAABAAAABAAAAAQcQXBsb3Jpcy5CYXNlLlVJLlZpc3VhbE9iamVjdAMAAAAJiwEAAA0DAWwDAADnAgAACY0GAAAUAAAAWgAAAAFtAwAAKAAAAAmOBgAAFAAAABYAAAABbgMAACkAAAAJ+gAAAAAAAAAAAAAABXU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pAQAACgAAAAAAQEEJhwAAAAoJjwYAAAEACZAGAAABdgMAAGkAAAAKCgAAAAD///8ADgAAAAABAXoDAABuAAAACZEGAAABAAAAAQAAAAF7AwAAcAAAAAmSBgAACgeAAwAAAAEAAAAEAAAABB9BcGxvcmlzLkJhc2UuT2JqZWN0cy5EYXRhT2JqZWN0AwAAAAmRAQAADQMHgQMAAAABAAAABAAAAAQcQXBsb3Jpcy5CYXNlLlVJLlZpc3VhbE9iamVjdAMAAAAJkwEAAA0DAYIDAADnAgAACZMGAAAUAAAAWgAAAAGDAwAAKAAAAAmUBgAAFAAAABYAAAABhAMAACkAAAAJ+gAAAAAAAAAAAAAABYs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qAQAACgAAAAAAQEEJhwAAAAoJlQYAAAEACZYGAAABjAMAAGkAAAAKCgAAAAD///8ADgAAAAABAZADAABuAAAACZcGAAABAAAAAQAAAAGRAwAAcAAAAAmYBgAACgeWAwAAAAEAAAAEAAAABB9BcGxvcmlzLkJhc2UuT2JqZWN0cy5EYXRhT2JqZWN0AwAAAAmZAQAADQMHlwMAAAABAAAABAAAAAQcQXBsb3Jpcy5CYXNlLlVJLlZpc3VhbE9iamVjdAMAAAAJmwEAAA0DAZgDAADnAgAACZkGAAAUAAAAWgAAAAGZAwAAKAAAAAmaBgAAFAAAABYAAAABmgMAACkAAAAJ+gAAAAAAAAAAAAAABaE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rAQAACgAAAAAAQEEJhwAAAAoJmwYAAAEACZwGAAABogMAAGkAAAAKCgAAAAD///8ADgAAAAABAaYDAABuAAAACZ0GAAABAAAAAQAAAAGnAwAAcAAAAAmeBgAACgesAwAAAAEAAAAEAAAABB9BcGxvcmlzLkJhc2UuT2JqZWN0cy5EYXRhT2JqZWN0AwAAAAmhAQAADQMHrQMAAAABAAAABAAAAAQcQXBsb3Jpcy5CYXNlLlVJLlZpc3VhbE9iamVjdAMAAAAJowEAAA0DAa4DAADnAgAACZ8GAAAUAAAAWgAAAAGvAwAAKAAAAAmgBgAAFAAAABYAAAABsAMAACkAAAAJ+gAAAAAAAAAAAAAABbc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sAQAACgAAAAAAQEEJhwAAAAoJoQYAAAEACaIGAAABuAMAAGkAAAAKCgAAAAD///8ADgAAAAABAbwDAABuAAAACaMGAAABAAAAAQAAAAG9AwAAcAAAAAmkBgAACgfCAwAAAAEAAAAEAAAABB9BcGxvcmlzLkJhc2UuT2JqZWN0cy5EYXRhT2JqZWN0AwAAAAmpAQAADQMHwwMAAAABAAAABAAAAAQcQXBsb3Jpcy5CYXNlLlVJLlZpc3VhbE9iamVjdAMAAAAJqwEAAA0DAcQDAADnAgAACaUGAAAUAAAAWgAAAAHFAwAAKAAAAAmmBgAAFAAAABYAAAABxgMAACkAAAAJ+gAAAAAAAAAAAAAABc0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tAQAACgAAAAAAQEEJhwAAAAoJpwYAAAEACagGAAABzgMAAGkAAAAKCgAAAAD///8ADgAAAAABAdIDAABuAAAACakGAAABAAAAAQAAAAHTAwAAcAAAAAmqBgAACgfYAwAAAAEAAAAEAAAABB9BcGxvcmlzLkJhc2UuT2JqZWN0cy5EYXRhT2JqZWN0AwAAAAmxAQAADQMH2QMAAAABAAAABAAAAAQcQXBsb3Jpcy5CYXNlLlVJLlZpc3VhbE9iamVjdAMAAAAJswEAAA0DAdoDAADnAgAACasGAAAUAAAAWgAAAAHbAwAAKAAAAAmsBgAAFAAAABYAAAAB3AMAACkAAAAJ+gAAAAAAAAAAAAAABeM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uAQAACgAAAAAAQEEJhwAAAAoJrQYAAAEACa4GAAAB5AMAAGkAAAAKCgAAAAD///8ADgAAAAABAegDAABuAAAACa8GAAABAAAAAQAAAAHpAwAAcAAAAAmwBgAACgfuAwAAAAEAAAAEAAAABB9BcGxvcmlzLkJhc2UuT2JqZWN0cy5EYXRhT2JqZWN0AwAAAAm5AQAADQMH7wMAAAABAAAABAAAAAQcQXBsb3Jpcy5CYXNlLlVJLlZpc3VhbE9iamVjdAMAAAAJuwEAAA0DAfADAADnAgAACbEGAAAUAAAAWgAAAAHxAwAAKAAAAAmyBgAAFAAAABYAAAAB8gMAACkAAAAJ+gAAAAAAAAAAAAAABfkD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vAQAACgAAAAAAQEEJhwAAAAoJswYAAAEACbQGAAAB+gMAAGkAAAAKCgAAAAD///8ADgAAAAABAf4DAABuAAAACbUGAAABAAAAAQAAAAH/AwAAcAAAAAm2BgAACgcEBAAAAAEAAAAEAAAABB9BcGxvcmlzLkJhc2UuT2JqZWN0cy5EYXRhT2JqZWN0AwAAAAnBAQAADQMHBQQAAAABAAAABAAAAAQcQXBsb3Jpcy5CYXNlLlVJLlZpc3VhbE9iamVjdAMAAAAJwwEAAA0DAQYEAADnAgAACbcGAAAUAAAAWgAAAAEHBAAAKAAAAAm4BgAAFAAAABYAAAABCAQAACkAAAAJ+gAAAAAAAAAAAAAABQ8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wAQAACgAAAAAAQEEJhwAAAAoJuQYAAAEACboGAAABEAQAAGkAAAAKCgAAAAD///8ADgAAAAABARQEAABuAAAACbsGAAABAAAAAQAAAAEVBAAAcAAAAAm8BgAACgcaBAAAAAEAAAAEAAAABB9BcGxvcmlzLkJhc2UuT2JqZWN0cy5EYXRhT2JqZWN0AwAAAAnJAQAADQMHGwQAAAABAAAABAAAAAQcQXBsb3Jpcy5CYXNlLlVJLlZpc3VhbE9iamVjdAMAAAAJywEAAA0DARwEAADnAgAACb0GAAAUAAAAWgAAAAEdBAAAKAAAAAm+BgAAFAAAABYAAAABHgQAACkAAAAJ+gAAAAAAAAAAAAAABSU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xAQAACgAAAAAAQEEJhwAAAAoJvwYAAAEACcAGAAABJgQAAGkAAAAKCgAAAAD///8ADgAAAAABASoEAABuAAAACcEGAAABAAAAAQAAAAErBAAAcAAAAAnCBgAACgcwBAAAAAEAAAAEAAAABB9BcGxvcmlzLkJhc2UuT2JqZWN0cy5EYXRhT2JqZWN0AwAAAAnRAQAADQMHMQQAAAABAAAABAAAAAQcQXBsb3Jpcy5CYXNlLlVJLlZpc3VhbE9iamVjdAMAAAAJ0wEAAA0DATIEAADnAgAACcMGAAAUAAAAWgAAAAEzBAAAKAAAAAnEBgAAFAAAABYAAAABNAQAACkAAAAJ+gAAAAAAAAAAAAAABTs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yAQAACgAAAAAAQEEJhwAAAAoJxQYAAAEACcYGAAABPAQAAGkAAAAKCgAAAAD///8ADgAAAAABAUAEAABuAAAACccGAAABAAAAAQAAAAFBBAAAcAAAAAnIBgAACgdGBAAAAAEAAAAEAAAABB9BcGxvcmlzLkJhc2UuT2JqZWN0cy5EYXRhT2JqZWN0AwAAAAnZAQAADQMHRwQAAAABAAAABAAAAAQcQXBsb3Jpcy5CYXNlLlVJLlZpc3VhbE9iamVjdAMAAAAJ2wEAAA0DAUgEAADnAgAACckGAAAUAAAAWgAAAAFJBAAAKAAAAAnKBgAAFAAAABYAAAABSgQAACkAAAAJ+gAAAAAAAAAAAAAABVE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zAQAACgAAAAAAQEEJhwAAAAoJywYAAAEACcwGAAABUgQAAGkAAAAKCgAAAAD///8ADgAAAAABAVYEAABuAAAACc0GAAABAAAAAQAAAAFXBAAAcAAAAAnOBgAACgdcBAAAAAEAAAAEAAAABB9BcGxvcmlzLkJhc2UuT2JqZWN0cy5EYXRhT2JqZWN0AwAAAAnhAQAADQMHXQQAAAABAAAABAAAAAQcQXBsb3Jpcy5CYXNlLlVJLlZpc3VhbE9iamVjdAMAAAAJ4wEAAA0DAV4EAADnAgAACc8GAAAUAAAAWgAAAAFfBAAAKAAAAAnQBgAAFAAAABYAAAABYAQAACkAAAAJ+gAAAAAAAAAAAAAABWc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0AQAACgAAAAAAQEEJhwAAAAoJ0QYAAAEACdIGAAABaAQAAGkAAAAKCgAAAAD///8ADgAAAAABAWwEAABuAAAACdMGAAABAAAAAQAAAAFtBAAAcAAAAAnUBgAACgdyBAAAAAEAAAAEAAAABB9BcGxvcmlzLkJhc2UuT2JqZWN0cy5EYXRhT2JqZWN0AwAAAAnpAQAADQMHcwQAAAABAAAABAAAAAQcQXBsb3Jpcy5CYXNlLlVJLlZpc3VhbE9iamVjdAMAAAAJ6wEAAA0DAXQEAADnAgAACdUGAAAUAAAAWgAAAAF1BAAAKAAAAAnWBgAAFAAAABYAAAABdgQAACkAAAAJ+gAAAAAAAAAAAAAABX0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1AQAACgAAAAAAQEEJhwAAAAoJ1wYAAAEACdgGAAABfgQAAGkAAAAKCgAAAAD///8ADgAAAAABAYIEAABuAAAACdkGAAABAAAAAQAAAAGDBAAAcAAAAAnaBgAACgeIBAAAAAEAAAAEAAAABB9BcGxvcmlzLkJhc2UuT2JqZWN0cy5EYXRhT2JqZWN0AwAAAAnxAQAADQMHiQQAAAABAAAABAAAAAQcQXBsb3Jpcy5CYXNlLlVJLlZpc3VhbE9iamVjdAMAAAAJ8wEAAA0DAYoEAADnAgAACdsGAAAUAAAAWgAAAAGLBAAAKAAAAAncBgAAFAAAABYAAAABjAQAACkAAAAJ+gAAAAAAAAAAAAAABZM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2AQAACgAAAAAAQEEJhwAAAAoJ3QYAAAEACd4GAAABlAQAAGkAAAAKCgAAAAD///8ADgAAAAABAZgEAABuAAAACd8GAAABAAAAAQAAAAGZBAAAcAAAAAngBgAACgeeBAAAAAEAAAAEAAAABB9BcGxvcmlzLkJhc2UuT2JqZWN0cy5EYXRhT2JqZWN0AwAAAAn5AQAADQMHnwQAAAABAAAABAAAAAQcQXBsb3Jpcy5CYXNlLlVJLlZpc3VhbE9iamVjdAMAAAAJ+wEAAA0DAaAEAADnAgAACeEGAAAUAAAAWgAAAAGhBAAAKAAAAAniBgAAFAAAABYAAAABogQAACkAAAAJ+gAAAAAAAAAAAAAABak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3AQAACgAAAAAAQEEJhwAAAAoJ4wYAAAEACeQGAAABqgQAAGkAAAAKCgAAAAD///8ADgAAAAABAa4EAABuAAAACeUGAAABAAAAAQAAAAGvBAAAcAAAAAnmBgAACge0BAAAAAEAAAAEAAAABB9BcGxvcmlzLkJhc2UuT2JqZWN0cy5EYXRhT2JqZWN0AwAAAAkBAgAADQMHtQQAAAABAAAABAAAAAQcQXBsb3Jpcy5CYXNlLlVJLlZpc3VhbE9iamVjdAMAAAAJAwIAAA0DAbYEAADnAgAACecGAAAUAAAAWgAAAAG3BAAAKAAAAAnoBgAAFAAAABYAAAABuAQAACkAAAAJ+gAAAAAAAAAAAAAABb8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4AQAACgAAAAAAQEEJhwAAAAoJ6QYAAAEACeoGAAABwAQAAGkAAAAKCgAAAAD///8ADgAAAAABAcQEAABuAAAACesGAAABAAAAAQAAAAHFBAAAcAAAAAnsBgAACgfKBAAAAAEAAAAEAAAABB9BcGxvcmlzLkJhc2UuT2JqZWN0cy5EYXRhT2JqZWN0AwAAAAkJAgAADQMHywQAAAABAAAABAAAAAQcQXBsb3Jpcy5CYXNlLlVJLlZpc3VhbE9iamVjdAMAAAAJCwIAAA0DAcwEAADnAgAACe0GAAAUAAAAWgAAAAHNBAAAKAAAAAnuBgAAFAAAABYAAAABzgQAACkAAAAJ+gAAAAAAAAAAAAAABdUE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UFwbG9yaXMuQ2hhcnQuQ2hhcnREYXRhU2VyaWVzAgAAAAEBAQsaQXBsb3Jpcy5CYXNlLk9iamVjdHMuQ29sb3IDAAAAAQEaQXBsb3Jpcy5CYXNlLk9iamVjdHMuQ29sb3IDAAAAAwAAAAk5AQAACgAAAAAAQEEJhwAAAAoJ7wYAAAEACfAGAAAB1gQAAGkAAAAKCgAAAAD///8ADgAAAAABAdoEAABuAAAACfEGAAABAAAAAQAAAAHbBAAAcAAAAAnyBgAACgfgBAAAAAEAAAAEAAAABB9BcGxvcmlzLkJhc2UuT2JqZWN0cy5EYXRhT2JqZWN0AwAAAAkRAgAADQMH4QQAAAABAAAABAAAAAQcQXBsb3Jpcy5CYXNlLlVJLlZpc3VhbE9iamVjdAMAAAAJEwIAAA0DAeQEAAAmAAAACgoAAAAAABBBCYcAAAAKCfMGAAAAAAn0BgAAAeUEAABpAAAACgoBAAAAAAAAAP////8AAQHpBAAAbgAAAAn1BgAAAQAAAAEAAAAB6gQAAHAAAAAJ9gYAAAoE6wQAAJkBU3lzdGVtLkNvbGxlY3Rpb25zLkdlbmVyaWMuTGlzdGAxW1tBcGxvcmlzLkNoYXJ0LkFubm90YXRpb25FbGVtZW50LCBBcGxvcmlzLkNoYXJ0LCBWZXJzaW9uPTQuMS4wLjE2NDQsIEN1bHR1cmU9bmV1dHJhbCwgUHVibGljS2V5VG9rZW49MTZmYzEzYTIyNmMwZTk1MV1dAwAAAAZfaXRlbXMFX3NpemUIX3ZlcnNpb24EAAAhQXBsb3Jpcy5DaGFydC5Bbm5vdGF0aW9uRWxlbWVudFtdAgAAAAgICfcGAAAUAAAAWgAAAAHsBAAAKAAAAAn4BgAAFAAAABYAAAAB7QQAACkAAAAJ+gAAAAAAAAAAAAAAD/EEAAAAAAAACA/yBAAAAAAAAAgH8wQAAAABAAAABAAAAAQfQXBsb3Jpcy5CYXNlLk9iamVjdHMuRGF0YU9iamVjdAMAAAAJGwIAAAkZAgAACgoH9AQAAAABAAAABAAAAAQcQXBsb3Jpcy5CYXNlLlVJLlZpc3VhbE9iamVjdAMAAAAJGAIAAA0DAfUEAAAXAAAAAfkGAAAkAAAAsppiQhAA/EAB+gYAAGcAAAABAAAAAAAAAAAAAAAACfsGAAAAAAAACfwGAAAAAAAB/QYAAGoAAAAAAAAAAf4GAABrAAAAAACoQQAAoEEB/wYAABQAAAAAAAAAAAAAAAAAAAAAAAAAXrrZPwYABwAAAzEwMAoJAQcAAAn2AgAANAMAAP////8AAQoJAgcAAAEACgAB+AQAACYAAAAKCgAAAAAAEEEJhwAAAAoJAwcAAAAACQQHAAAB+QQAAGkAAAAKCgAAAAD///8ADgAAAAABAf0EAABuAAAACQUHAAABAAAAAQAAAAH+BAAAcAAAAAkGBwAACgf/BAAAAAEAAAAEAAAABBxBcGxvcmlzLkJhc2UuVUkuVmlzdWFsT2JqZWN0AwAAAAkjAgAACfUEAAAKCgEABQAAFwAAAAEHBwAAJAAAAF8+ikIQAPxAAQgHAABnAAAAAQAAAAAAAAAAAAAAAAkJBwAAAAAAAAkKBwAAAAAAAQsHAABqAAAAAAAAAAEMBwAAawAAAAAAqEEAAKBBAQ0HAAAUAAAAAAAAAAAAAAAAAAAAAAAAAF662T8GDgcAAAMxMDAKCQ8HAAAJ9gIAADQDAAD/////AAEKCRAHAAABAAoAAQMFAAAmAAAACgoAAAAAABBBCYcAAAAKCREHAAAAAAkSBwAAAQQFAABpAAAACgoAAAAA////AA4AAAAAAQEIBQAAbgAAAAkTBwAAAQAAAAEAAAABCQUAAHAAAAAJFAcAAAoHCgUAAAABAAAABAAAAAQcQXBsb3Jpcy5CYXNlLlVJLlZpc3VhbE9iamVjdAMAAAAJKgIAAAkABQAACgoBCwUAABcAAAABFQcAACQAAAAQEKFCEAD8QAEWBwAAZwAAAAEAAAAAAAAAAAAAAAAJFwcAAAAAAAAJGAcAAAAAAAEZBwAAagAAAAAAAAABGgcAAGsAAAAAAKhBAACgQQEbBwAAFAAAAAAAAAAAAAAAAAAAAAAAAABeutk/BhwHAAADMTAwCgkdBwAACfYCAAA0AwAA/////wABCgkeBwAAAQAKAAEOBQAAJgAAAAoKAAAAAAAQQQmHAAAACgkfBwAAAAAJIAcAAAEPBQAAaQAAAAoKAAAAAP///wAOAAAAAAEBEwUAAG4AAAAJIQcAAAEAAAABAAAAARQFAABwAAAACSIHAAAKBxUFAAAAAQAAAAQAAAAEHEFwbG9yaXMuQmFzZS5VSS5WaXN1YWxPYmplY3QDAAAACTECAAAJCwUAAAoKARYFAAAXAAAAASMHAAAkAAAAFgQDQxAA/EABJAcAAGcAAAABAAAAAAAAAAAAAAAACSUHAAAAAAAACSYHAAAAAAABJwcAAGoAAAAAAAAAASgHAABrAAAAAACoQQAAoEEBKQcAABQAAAAAAAAAAAAAAAAAAAAAAAAAXrrZPwYqBwAAAzEwMAoJKwcAAAn2AgAANAMAAP////8AAQoJLAcAAAEACgABGQUAACYAAAAKCgAAAAAAEEEJhwAAAAoJLQcAAAAACS4HAAABGgUAAGkAAAAKCgAAAAD///8ADgAAAAABAR4FAABuAAAACS8HAAABAAAAAQAAAAEfBQAAcAAAAAkwBwAACgcgBQAAAAEAAAAEAAAABBxBcGxvcmlzLkJhc2UuVUkuVmlzdWFsT2JqZWN0AwAAAAk4AgAACRYFAAAKCgEhBQAAFwAAAAExBwAAJAAAAEjtSUMQAPxAATIHAABnAAAAAQAAAAAAAAAAAAAAAAkzBwAAAAAAAAk0BwAAAAAAATUHAABqAAAAAAAAAAE2BwAAawAAAAAAqEEAAKBBATcHAAAUAAAAAAAAAAAAAAAAAAAAAAAAAF662T8GOAcAAAMxMDAKCTkHAAAJ9gIAADQDAAD/////AAEKCToHAAABAAoAASQFAAAmAAAACgoAAAAAABBBCYcAAAAKCTsHAAAAAAk8BwAAASUFAABpAAAACgoAAAAA////AA4AAAAAAQEpBQAAbgAAAAk9BwAAAQAAAAEAAAABKgUAAHAAAAAJPgcAAAoHKwUAAAABAAAABAAAAAQcQXBsb3Jpcy5CYXNlLlVJLlZpc3VhbE9iamVjdAMAAAAJPwIAAAkhBQAACgoBLAUAABcAAAABPwcAACQAAACMxmdDEAD8QAFABwAAZwAAAAEAAAAAAAAAAAAAAAAJQQcAAAAAAAAJQgcAAAAAAAFDBwAAagAAAAAAAAABRAcAAGsAAAAAAKhBAACgQQFFBwAAFAAAAAAAAAAAAAAAAAAAAAAAAABeutk/BkYHAAADMTAwCglHBwAACfYCAAA0AwAA/////wABCglIBwAAAQAKAAEvBQAAJgAAAAoKAAAAAAAQQQmHAAAACglJBwAAAAAJSgcAAAEwBQAAaQAAAAoKAAAAAP///wAOAAAAAAEBNAUAAG4AAAAJSwcAAAEAAAABAAAAATUFAABwAAAACUwHAAAKBzYFAAAAAQAAAAQAAAAEHEFwbG9yaXMuQmFzZS5VSS5WaXN1YWxPYmplY3QDAAAACUYCAAAJLAUAAAoKATcFAAAXAAAAAU0HAAAkAAAA5k9vQxAA/EABTgcAAGcAAAABAAAAAAAAAAAAAAAACU8HAAAAAAAACVAHAAAAAAABUQcAAGoAAAAAAAAAAVIHAABrAAAAAACoQQAAoEEBUwcAABQAAAAAAAAAAAAAAAAAAAAAAAAAXrrZPwZUBwAAAzEwMAoJVQcAAAn2AgAANAMAAP////8AAQoJVgcAAAEACgABOgUAACYAAAAKCgAAAAAAEEEJhwAAAAoJVwcAAAAACVgHAAABOwUAAGkAAAAKCgAAAAD///8ADgAAAAABAT8FAABuAAAACVkHAAABAAAAAQAAAAFABQAAcAAAAAlaBwAACgdBBQAAAAEAAAAEAAAABBxBcGxvcmlzLkJhc2UuVUkuVmlzdWFsT2JqZWN0AwAAAAlNAgAACTcFAAAKCgFCBQAAFwAAAAFbBwAAJAAAAPytdkMQAPxAAVwHAABnAAAAAQAAAAAAAAAAAAAAAAldBwAAAAAAAAleBwAAAAAAAV8HAABqAAAAAAAAAAFgBwAAawAAAAAAqEEAAKBBAWEHAAAUAAAAAAAAAAAAAAAAAAAAAAAAAF662T8GYgcAAAMxMDAKCWMHAAAJ9gIAADQDAAD/////AAEKCWQHAAABAAoAAUUFAAAmAAAACgoAAAAAABBBCYcAAAAKCWUHAAAAAAlmBwAAAUYFAABpAAAACgoAAAAA////AA4AAAAAAQFKBQAAbgAAAAlnBwAAAQAAAAEAAAABSwUAAHAAAAAJaAcAAAoHTAUAAAABAAAABAAAAAQcQXBsb3Jpcy5CYXNlLlVJLlZpc3VhbE9iamVjdAMAAAAJVAIAAAlCBQAACgoBTQUAABcAAAABaQcAACQAAAC13oNDEAD8QAFqBwAAZwAAAAEAAAAAAAAAAAAAAAAJawcAAAAAAAAJbAcAAAAAAAFtBwAAagAAAAAAAAABbgcAAGsAAAAAAKhBAACgQQFvBwAAFAAAAAAAAAAAAAAAAAAAAAAAAABeutk/BnAHAAADMTAwCglxBwAACfYCAAA0AwAA/////wABCglyBwAAAQAKAAFQBQAAJgAAAAoKAAAAAAAQQQmHAAAACglzBwAAAAAJdAcAAAFRBQAAaQAAAAoKAAAAAP///wAOAAAAAAEBVQUAAG4AAAAJdQcAAAEAAAABAAAAAVYFAABwAAAACXYHAAAKB1cFAAAAAQAAAAQAAAAEHEFwbG9yaXMuQmFzZS5VSS5WaXN1YWxPYmplY3QDAAAACVsCAAAJTQUAAAoKAVgFAAAXAAAAAXcHAAAkAAAAFJCgQxAA/EABeAcAAGcAAAABAAAAAAAAAAAAAAAACXkHAAAAAAAACXoHAAAAAAABewcAAGoAAAAAAAAAAXwHAABrAAAAAACoQQAAoEEBfQcAABQAAAAAAAAAAAAAAAAAAAAAAAAAXrrZPwZ+BwAAAzEwMAoJfwcAAAn2AgAANAMAAP////8AAQoJgAcAAAEACgABWwUAACYAAAAKCgAAAAAAEEEJhwAAAAoJgQcAAAAACYIHAAABXAUAAGkAAAAKCgAAAAD///8ADgAAAAABAWAFAABuAAAACYMHAAABAAAAAQAAAAFhBQAAcAAAAAmEBwAACgdiBQAAAAEAAAAEAAAABBxBcGxvcmlzLkJhc2UuVUkuVmlzdWFsT2JqZWN0AwAAAAliAgAACVgFAAAKCgFjBQAAFwAAAAGFBwAAJAAAALzjuUMQAPxAAYYHAABnAAAAAQAAAAAAAAAAAAAAAAmHBwAAAAAAAAmIBwAAAAAAAYkHAABqAAAAAAAAAAGKBwAAawAAAAAAqEEAAKBBAYsHAAAUAAAAAAAAAAAAAAAAAAAAAAAAAF662T8GjAcAAAMxMDAKCY0HAAAJ9gIAADQDAAD/////AAEKCY4HAAABAAoAAWYFAAAmAAAACgoAAAAAABBBCYcAAAAKCY8HAAAAAAmQBwAAAWcFAABpAAAACgoAAAAA////AA4AAAAAAQFrBQAAbgAAAAmRBwAAAQAAAAEAAAABbAUAAHAAAAAJkgcAAAoHbQUAAAABAAAABAAAAAQcQXBsb3Jpcy5CYXNlLlVJLlZpc3VhbE9iamVjdAMAAAAJaQIAAAljBQAACgoBbgUAABcAAAABkwcAACQAAADepr9DEAD8QAGUBwAAZwAAAAEAAAAAAAAAAAAAAAAJlQcAAAAAAAAJlgcAAAAAAAGXBwAAagAAAAAAAAABmAcAAGsAAAAAAKhBAACgQQGZBwAAFAAAAAAAAAAAAAAAAAAAAAAAAABeutk/BpoHAAADMTAwCgmbBwAACfYCAAA0AwAA/////wABCgmcBwAAAQAKAAFxBQAAJgAAAAoKAAAAAAAQQQmHAAAACgmdBwAAAAAJngcAAAFyBQAAaQAAAAoKAAAAAP///wAOAAAAAAEBdgUAAG4AAAAJnwcAAAEAAAABAAAAAXcFAABwAAAACaAHAAAKB3gFAAAAAQAAAAQAAAAEHEFwbG9yaXMuQmFzZS5VSS5WaXN1YWxPYmplY3QDAAAACXACAAAJbgUAAAoKAXkFAAAXAAAAAaEHAAAkAAAAurjFQxAA/EABogcAAGcAAAABAAAAAAAAAAAAAAAACaMHAAAAAAAACaQHAAAAAAABpQcAAGoAAAAAAAAAAaYHAABrAAAAAACoQQAAoEEBpwcAABQAAAAAAAAAAAAAAAAAAAAAAAAAXrrZPwaoBwAAAzEwMAoJqQcAAAn2AgAANAMAAP////8AAQoJqgcAAAEACgABfAUAACYAAAAKCgAAAAAAEEEJhwAAAAoJqwcAAAAACawHAAABfQUAAGkAAAAKCgAAAAD///8ADgAAAAABAYEFAABuAAAACa0HAAABAAAAAQAAAAGCBQAAcAAAAAmuBwAACgeDBQAAAAEAAAAEAAAABBxBcGxvcmlzLkJhc2UuVUkuVmlzdWFsT2JqZWN0AwAAAAl3AgAACXkFAAAKCgGEBQAAFwAAAAGvBwAAJAAAAFUbz0MQAPxAAbAHAABnAAAAAQAAAAAAAAAAAAAAAAmxBwAAAAAAAAmyBwAAAAAAAbMHAABqAAAAAAAAAAG0BwAAawAAAAAAqEEAAKBBAbUHAAAUAAAAAAAAAAAAAAAAAAAAAAAAAF662T8GtgcAAAMxMDAKCbcHAAAJ9gIAADQDAAD/////AAEKCbgHAAABAAoAAYcFAAAmAAAACgoAAAAAABBBCYcAAAAKCbkHAAAAAAm6BwAAAYgFAABpAAAACgoAAAAA////AA4AAAAAAQGMBQAAbgAAAAm7BwAAAQAAAAEAAAABjQUAAHAAAAAJvAcAAAoHjgUAAAABAAAABAAAAAQcQXBsb3Jpcy5CYXNlLlVJLlZpc3VhbE9iamVjdAMAAAAJfgIAAAmEBQAACgoBjwUAABcAAAABvQcAACQAAAAKathDEAD8QAG+BwAAZwAAAAEAAAAAAAAAAAAAAAAJvwcAAAAAAAAJwAcAAAAAAAHBBwAAagAAAAAAAAABwgcAAGsAAAAAAKhBAACgQQHDBwAAFAAAAAAAAAAAAAAAAAAAAAAAAABeutk/BsQHAAADMTAwCgnFBwAACfYCAAA0AwAA/////wABCgnGBwAAAQAKAAGSBQAAJgAAAAoKAAAAAAAQQQmHAAAACgnHBwAAAAAJyAcAAAGTBQAAaQAAAAoKAAAAAP///wAOAAAAAAEBlwUAAG4AAAAJyQcAAAEAAAABAAAAAZgFAABwAAAACcoHAAAKB5kFAAAAAQAAAAQAAAAEHEFwbG9yaXMuQmFzZS5VSS5WaXN1YWxPYmplY3QDAAAACYUCAAAJjwUAAAoKAZoFAAAXAAAAAcsHAAAkAAAAsIH3QxAA/EABzAcAAGcAAAABAAAAAAAAAAAAAAAACc0HAAAAAAAACc4HAAAAAAABzwcAAGoAAAAAAAAAAdAHAABrAAAAAACoQQAAoEEB0QcAABQAAAAAAAAAAAAAAAAAAAAAAAAAXrrZPwbSBwAAAzEwMAoJ0wcAAAn2AgAANAMAAP////8AAQoJ1AcAAAEACgABnQUAACYAAAAKCgAAAAAAEEEJhwAAAAoJ1QcAAAAACdYHAAABngUAAGkAAAAKCgAAAAD///8ADgAAAAABAaIFAABuAAAACdcHAAABAAAAAQAAAAGjBQAAcAAAAAnYBwAACgekBQAAAAEAAAAEAAAABBxBcGxvcmlzLkJhc2UuVUkuVmlzdWFsT2JqZWN0AwAAAAmMAgAACZoFAAAKCgGlBQAAFwAAAAHZBwAAJAAAAMrRE0QQAPxAAdoHAABnAAAAAQAAAAAAAAAAAAAAAAnbBwAAAAAAAAncBwAAAAAAAd0HAABqAAAAAAAAAAHeBwAAawAAAAAAqEEAAKBBAd8HAAAUAAAAAAAAAAAAAAAAAAAAAAAAAF662T8G4AcAAAMxMDAKCeEHAAAJ9gIAADQDAAD/////AAEKCeIHAAABAAoAAagFAAAmAAAACgoAAAAAABBBCYcAAAAKCeMHAAAAAAnkBwAAAakFAABpAAAACgoAAAAA////AA4AAAAAAQGtBQAAbgAAAAnlBwAAAQAAAAEAAAABrgUAAHAAAAAJ5gcAAAoHrwUAAAABAAAABAAAAAQcQXBsb3Jpcy5CYXNlLlVJLlZpc3VhbE9iamVjdAMAAAAJkwIAAAmlBQAACgoBsAUAABcAAAAB5wcAACQAAAD0BSBEEAD8QAHoBwAAZwAAAAEAAAAAAAAAAAAAAAAJ6QcAAAAAAAAJ6gcAAAAAAAHrBwAAagAAAAAAAAAB7AcAAGsAAAAAAKhBAACgQQHtBwAAFAAAAAAAAAAAAAAAAAAAAAAAAABeutk/Bu4HAAADMTAwCgnvBwAACfYCAAA0AwAA/////wABCgnwBwAAAQAKAAGzBQAAJgAAAAoKAAAAAAAQQQmHAAAACgnxBwAAAAAJ8gcAAAG0BQAAaQAAAAoKAAAAAP///wAOAAAAAAEBuAUAAG4AAAAJ8wcAAAEAAAABAAAAAbkFAABwAAAACfQHAAAKB7oFAAAAAQAAAAQAAAAEHEFwbG9yaXMuQmFzZS5VSS5WaXN1YWxPYmplY3QDAAAACZoCAAAJsAUAAAoKAbsFAAAXAAAAAfUHAAAkAAAADKsjRBAA/EAB9gcAAGcAAAABAAAAAAAAAAAAAAAACfcHAAAAAAAACfgHAAAAAAAB+QcAAGoAAAAAAAAAAfoHAABrAAAAAACoQQAAoEEB+wcAABQAAAAAAAAAAAAAAAAAAAAAAAAAXrrZPwb8BwAAAzEwMAoJ/QcAAAn2AgAANAMAAP////8AAQoJ/gcAAAEACgABvgUAACYAAAAKCgAAAAAAEEEJhwAAAAoJ/wcAAAAACQAIAAABvwUAAGkAAAAKCgAAAAD///8ADgAAAAABAcMFAABuAAAACQEIAAABAAAAAQAAAAHEBQAAcAAAAAkCCAAACgfFBQAAAAEAAAAEAAAABBxBcGxvcmlzLkJhc2UuVUkuVmlzdWFsT2JqZWN0AwAAAAmhAgAACbsFAAAKCgHGBQAAFwAAAAEDCAAAJAAAAKs9LUQQAPxAAQQIAABnAAAAAQAAAAAAAAAAAAAAAAkFCAAAAAAAAAkGCAAAAAAAAQcIAABqAAAAAAAAAAEICAAAawAAAAAAqEEAAKBBAQkIAAAUAAAAAAAAAAAAAAAAAAAAAAAAAF662T8GCggAAAMxMDAKCQsIAAAJ9gIAADQDAAD/////AAEKCQwIAAABAAoAAckFAAAmAAAACgoAAAAAABBBCYcAAAAKCQ0IAAAAAAkOCAAAAcoFAABpAAAACgoAAAAA////AA4AAAAAAQHOBQAAbgAAAAkPCAAAAQAAAAEAAAABzwUAAHAAAAAJEAgAAAoH0AUAAAABAAAABAAAAAQcQXBsb3Jpcy5CYXNlLlVJLlZpc3VhbE9iamVjdAMAAAAJqAIAAAnGBQAACgoB0wUAAIEAAAAKCgAAAEA/CREIAAAJEggAAAEAAAD+////AAAAAAEAAAAAAAAAAAAAAAEAAAAAAAAAAAAAAdQFAABwAAAACRMIAAAKAdcFAAAmAAAACgoAAAAAABBBCYcAAAAKCRQIAAAAAAkVCAAAAdgFAABpAAAACgoAAAAA////AA4AAAAAAQHdBQAAbgAAAAkWCAAAAQAAAAEAAAAB3gUAAHAAAAAJFwgAAAoH3wUAAAABAAAAAAAAAAQfQXBsb3Jpcy5CYXNlLk9iamVjdHMuRGF0YU9iamVjdAMAAAAH4AUAAAABAAAABAAAAAQcQXBsb3Jpcy5CYXNlLlVJLlZpc3VhbE9iamVjdAMAAAAJqwIAAAmsAgAACgoB4wUAAIEAAAAKCgAAAEA/CRgIAAAJGQgAAAEAAAD+////AAAAAAEAAAAAAAAAAAAAAAEAAAAAAAAAAAAAAeQFAABwAAAACRoIAAAKAecFAAAmAAAACgoAAAAAABBBCYcAAAAKCRsIAAAAAAkcCAAAAegFAABpAAAACgoAAAAA////AA4AAAAAAQHtBQAAbgAAAAkdCAAAAQAAAAMAAAAB7gUAAHAAAAAJHggAAAoH7wUAAAABAAAABAAAAAQcQXBsb3Jpcy5CYXNlLlVJLlZpc3VhbE9iamVjdAMAAAAJsQIAAAmyAgAACgoB8gUAAIEAAAAKCgAAAEA/CR8IAAAJIAgAAAEAAAD+////AAAAAAEAAAAAAAAAAAAAAAEAAAAAAAAAAAAAAfMFAABwAAAACSEIAAAKAfYFAAAmAAAACgoAAAAAABBBCYcAAAAKCSIIAAAAAAkjCAAAAfcFAABpAAAACgoAAAAA////AA4AAAAAAQH8BQAAbgAAAAkkCAAAAQAAAAMAAAAB/QUAAHAAAAAJJQgAAAoH/gUAAAABAAAABAAAAAQcQXBsb3Jpcy5CYXNlLlVJLlZpc3VhbE9iamVjdAMAAAAJtwIAAAm4AgAACgoBAQYAAIEAAAAKCgAAAEA/CSYIAAAJJwgAAAEAAAD+////AAAAAAEAAAAAAAAAAAAAAAEAAAAAAAAAAAAAAQIGAABwAAAACSgIAAAKAQUGAAAmAAAACgoAAAAAABBBCYcAAAAKCSkIAAAAAAkqCAAAAQYGAABpAAAACgoAAAAA////AA4AAAAAAQELBgAAbgAAAAkrCAAAAQAAAAMAAAABDAYAAHAAAAAJLAgAAAoHDQYAAAABAAAABAAAAAQcQXBsb3Jpcy5CYXNlLlVJLlZpc3VhbE9iamVjdAMAAAAJvQIAAAm+AgAACgoBEAYAAIEAAAAKCgAAAEA/CS0IAAAJLggAAAEAAAD+////AAAAAAEAAAAAAAAAAAAAAAEAAAAAAAAAAAAAAREGAABwAAAACS8IAAAKARQGAAAmAAAACgoAAAAAABBBCYcAAAAKCTAIAAAAAAkxCAAAARUGAABpAAAACgoAAAAA////AA4AAAAAAQEaBgAAbgAAAAkyCAAAAQAAAAMAAAABGwYAAHAAAAAJMwgAAAoHHAYAAAABAAAABAAAAAQcQXBsb3Jpcy5CYXNlLlVJLlZpc3VhbE9iamVjdAMAAAAJwwIAAAnEAgAACgoBHwYAAIEAAAAKCgAAAEA/CTQIAAAJNQgAAAEAAAD+////AAAAAAEAAAAAAAAAAAAAAAEAAAAAAAAAAAAAASAGAABwAAAACTYIAAAKASMGAAAmAAAACgoAAAAAABBBCYcAAAAKCTcIAAAAAAk4CAAAASQGAABpAAAACgoAAAAA////AA4AAAAAAQEpBgAAbgAAAAk5CAAAAQAAAAMAAAABKgYAAHAAAAAJOggAAAoHKwYAAAABAAAABAAAAAQcQXBsb3Jpcy5CYXNlLlVJLlZpc3VhbE9iamVjdAMAAAAJyQIAAAnKAgAACgoBLgYAAIEAAAAKCgAAAEA/CTsIAAAJPAgAAAEAAAD+////AAAAAAEAAAAAAAAAAAAAAAEAAAAAAAAAAAAAAS8GAABwAAAACT0IAAAKATIGAAAmAAAACgoAAAAAABBBCYcAAAAKCT4IAAAAAAk/CAAAATMGAABpAAAACgoAAAAA////AA4AAAAAAQE4BgAAbgAAAAlACAAAAQAAAAMAAAABOQYAAHAAAAAJQQgAAAoHOgYAAAABAAAABAAAAAQcQXBsb3Jpcy5CYXNlLlVJLlZpc3VhbE9iamVjdAMAAAAJzwIAAAnQAgAACgoBPQYAAIEAAAAKCgAAAEA/CUIIAAAJQwgAAAEAAAD+////AAAAAAEAAAAAAAAAAAAAAAEAAAAAAAAAAAAAAT4GAABwAAAACUQIAAAKAUEGAAAmAAAACgoAAAAAABBBCYcAAAAKCUUIAAAAAAlGCAAAAUIGAABpAAAACgoAAAAA////AA4AAAAAAQFHBgAAbgAAAAlHCAAAAQAAAAMAAAABSAYAAHAAAAAJSAgAAAoHSQYAAAABAAAABAAAAAQcQXBsb3Jpcy5CYXNlLlVJLlZpc3VhbE9iamVjdAMAAAAJ1QIAAAnWAgAACgoBTAYAAIEAAAAKCgAAAEA/CUkIAAAJSggAAAEAAAD+////AAAAAAEAAAAAAAAAAAAAAAEAAAAAAAAAAAAAAU0GAABwAAAACUsIAAAKAVAGAAAmAAAACgoAAAAAABBBCYcAAAAKCUwIAAAAAAlNCAAAAVEGAABpAAAACgoAAAAA////AA4AAAAAAQFWBgAAbgAAAAlOCAAAAQAAAAMAAAABVwYAAHAAAAAJTwgAAAoHWAYAAAABAAAABAAAAAQcQXBsb3Jpcy5CYXNlLlVJLlZpc3VhbE9iamVjdAMAAAAJ2wIAAAncAgAACgoBWwYAAIEAAAAKCgAAAEA/CVAIAAAJUQgAAAEAAAD+////AAAAAAEAAAAAAAAAAAAAAAEAAAAAAAAAAAAAAVwGAABwAAAACVIIAAAKAV8GAAAmAAAACgoAAAAAABBBCYcAAAAKCVMIAAAAAAlUCAAAAWAGAABpAAAACgoAAAAA////AA4AAAAAAQFlBgAAbgAAAAlVCAAAAQAAAAUAAAABZwYAAHAAAAAJVggAAAoHaAYAAAABAAAABAAAAAQcQXBsb3Jpcy5CYXNlLlVJLlZpc3VhbE9iamVjdAMAAAAJ4QIAAAniAgAACgoHaQYAAAABAAAAIAAAAAQeQXBsb3Jpcy5DaGFydC5DaGFydERhdGFFbGVtZW50AgAAAAlXCAAACVgIAAAJWQgAAAlaCAAACVsIAAAJXAgAAAldCAAACV4IAAAJXwgAAAlgCAAACWEIAAAJYggAAAljCAAACWQIAAAJZQgAAAlmCAAACWcIAAAJaAgAAAlpCAAACWoIAAANDAdqBgAAAAEAAAAgAAAABB9BcGxvcmlzLkJhc2UuT2JqZWN0cy5EYXRhT2JqZWN0AwAAAAlYCAAACWgIAAAJYAgAAAliCAAACWUIAAAJXAgAAAldCAAACVoIAAAJZggAAAljCAAACVcIAAAJZwgAAAlkCAAACVsIAAAJaQgAAAlfCAAACV4IAAAJaggAAAlhCAAACVkIAAANDAFrBgAAaQAAAAoKAAAAAAAAAAANAAAAAAEBbAYAAGkAAAAKCgEAAAAAAAAA/////wABB20GAAAAAQAAAAQAAAAEHUFwbG9yaXMuQmFzZS5PYmplY3RzLlZhcmlhYmxlAwAAAAFrCAAATwEAAAEAAAAAAAAAAWwIAABPAQAAAAAAAAAAAAABbQgAAE8BAAAAAAAAAAAAAAFuCAAATwEAAAAAAAAAAAAAD24GAAABAAAACAAAAAAHbwYAAAABAAAAIAAAAAQeQXBsb3Jpcy5DaGFydC5DaGFydERhdGFFbGVtZW50AgAAAAlvCAAACXAIAAAJcQgAAAlyCAAACXMIAAAJdAgAAAl1CAAACXYIAAAJdwgAAAl4CAAACXkIAAAJeggAAAl7CAAACXwIAAAJfQgAAAl+CAAACX8IAAAJgAgAAAmBCAAACYIIAAANDAdwBgAAAAEAAAAgAAAABB9BcGxvcmlzLkJhc2UuT2JqZWN0cy5EYXRhT2JqZWN0AwAAAAlwCAAACYAIAAAJeAgAAAl6CAAACX0IAAAJdAgAAAl1CAAACXIIAAAJfggAAAl7CAAACW8IAAAJfwgAAAl8CAAACXMIAAAJgQgAAAl3CAAACXYIAAAJgggAAAl5CAAACXEIAAANDAFxBgAAaQAAAAoKAAAAAAAAAAANAAAAAAEBcgYAAGkAAAAKCgEAAAAAAAAA/////wABB3MGAAAAAQAAAAQAAAAEHUFwbG9yaXMuQmFzZS5PYmplY3RzLlZhcmlhYmxlAwAAAAGDCAAATwEAAAEAAAAAAAAAAYQIAABPAQAAAAAAAAAAAAABhQgAAE8BAAAAAAAAAAAAAAGGCAAATwEAAAAAAAAAAAAAD3QGAAABAAAACAAAAAAHdQYAAAABAAAAIAAAAAQeQXBsb3Jpcy5DaGFydC5DaGFydERhdGFFbGVtZW50AgAAAAmHCAAACYgIAAAJiQgAAAmKCAAACYsIAAAJjAgAAAmNCAAACY4IAAAJjwgAAAmQCAAACZEIAAAJkggAAAmTCAAACZQIAAAJlQgAAAmWCAAACZcIAAAJmAgAAAmZCAAACZoIAAANDAd2BgAAAAEAAAAgAAAABB9BcGxvcmlzLkJhc2UuT2JqZWN0cy5EYXRhT2JqZWN0AwAAAAmICAAACZgIAAAJkAgAAAmSCAAACZUIAAAJjAgAAAmNCAAACYoIAAAJlggAAAmTCAAACYcIAAAJlwgAAAmUCAAACYsIAAAJmQgAAAmPCAAACY4IAAAJmggAAAmRCAAACYkIAAANDAF3BgAAaQAAAAoKAAAAAAAAAAANAAAAAAEBeAYAAGkAAAAKCgEAAAAAAAAA/////wABB3kGAAAAAQAAAAQAAAAEHUFwbG9yaXMuQmFzZS5PYmplY3RzLlZhcmlhYmxlAwAAAAGbCAAATwEAAAEAAAAAAAAAAZwIAABPAQAAAAAAAAAAAAABnQgAAE8BAAAAAAAAAAAAAAGeCAAATwEAAAAAAAAAAAAAD3oGAAABAAAACAAAAAAHewYAAAABAAAAIAAAAAQeQXBsb3Jpcy5DaGFydC5DaGFydERhdGFFbGVtZW50AgAAAAmfCAAACaAIAAAJoQgAAAmiCAAACaMIAAAJpAgAAAmlCAAACaYIAAAJpwgAAAmoCAAACakIAAAJqggAAAmrCAAACawIAAAJrQgAAAmuCAAACa8IAAAJsAgAAAmxCAAACbIIAAANDAd8BgAAAAEAAAAgAAAABB9BcGxvcmlzLkJhc2UuT2JqZWN0cy5EYXRhT2JqZWN0AwAAAAmgCAAACbAIAAAJqAgAAAmqCAAACa0IAAAJpAgAAAmlCAAACaIIAAAJrggAAAmrCAAACZ8IAAAJrwgAAAmsCAAACaMIAAAJsQgAAAmnCAAACaYIAAAJsggAAAmpCAAACaEIAAANDAF9BgAAaQAAAAoKAAAAAAAAAAANAAAAAAEBfgYAAGkAAAAKCgEAAAAAAAAA/////wABB38GAAAAAQAAAAQAAAAEHUFwbG9yaXMuQmFzZS5PYmplY3RzLlZhcmlhYmxlAwAAAAGzCAAATwEAAAEAAAAAAAAAAbQIAABPAQAAAAAAAAAAAAABtQgAAE8BAAAAAAAAAAAAAAG2CAAATwEAAAAAAAAAAAAAD4AGAAABAAAACAAAAAAHgQYAAAABAAAAIAAAAAQeQXBsb3Jpcy5DaGFydC5DaGFydERhdGFFbGVtZW50AgAAAAm3CAAACbgIAAAJuQgAAAm6CAAACbsIAAAJvAgAAAm9CAAACb4IAAAJvwgAAAnACAAACcEIAAAJwggAAAnDCAAACcQIAAAJxQgAAAnGCAAACccIAAAJyAgAAAnJCAAACcoIAAANDAeCBgAAAAEAAAAgAAAABB9BcGxvcmlzLkJhc2UuT2JqZWN0cy5EYXRhT2JqZWN0AwAAAAm4CAAACcgIAAAJwAgAAAnCCAAACcUIAAAJvAgAAAm9CAAACboIAAAJxggAAAnDCAAACbcIAAAJxwgAAAnECAAACbsIAAAJyQgAAAm/CAAACb4IAAAJyggAAAnBCAAACbkIAAANDAGDBgAAaQAAAAoKAAAAAAAAAAANAAAAAAEBhAYAAGkAAAAKCgEAAAAAAAAA/////wABB4UGAAAAAQAAAAQAAAAEHUFwbG9yaXMuQmFzZS5PYmplY3RzLlZhcmlhYmxlAwAAAAHLCAAATwEAAAEAAAAAAAAAAcwIAABPAQAAAAAAAAAAAAABzQgAAE8BAAAAAAAAAAAAAAHOCAAATwEAAAAAAAAAAAAAD4YGAAABAAAACAAAAAAHhwYAAAABAAAAIAAAAAQeQXBsb3Jpcy5DaGFydC5DaGFydERhdGFFbGVtZW50AgAAAAnPCAAACdAIAAAJ0QgAAAnSCAAACdMIAAAJ1AgAAAnVCAAACdYIAAAJ1wgAAAnYCAAACdkIAAAJ2ggAAAnbCAAACdwIAAAJ3QgAAAneCAAACd8IAAAJ4AgAAAnhCAAACeIIAAANDAeIBgAAAAEAAAAgAAAABB9BcGxvcmlzLkJhc2UuT2JqZWN0cy5EYXRhT2JqZWN0AwAAAAnQCAAACeAIAAAJ2AgAAAnaCAAACd0IAAAJ1AgAAAnVCAAACdIIAAAJ3ggAAAnbCAAACc8IAAAJ3wgAAAncCAAACdMIAAAJ4QgAAAnXCAAACdYIAAAJ4ggAAAnZCAAACdEIAAANDAGJBgAAaQAAAAoKAAAAAAAAAAANAAAAAAEBigYAAGkAAAAKCgEAAAAAAAAA/////wABB4sGAAAAAQAAAAQAAAAEHUFwbG9yaXMuQmFzZS5PYmplY3RzLlZhcmlhYmxlAwAAAAHjCAAATwEAAAEAAAAAAAAAAeQIAABPAQAAAAAAAAAAAAAB5QgAAE8BAAAAAAAAAAAAAAHmCAAATwEAAAAAAAAAAAAAD4wGAAABAAAACAAAAAAHjQYAAAABAAAAIAAAAAQeQXBsb3Jpcy5DaGFydC5DaGFydERhdGFFbGVtZW50AgAAAAnnCAAACegIAAAJ6QgAAAnqCAAACesIAAAJ7AgAAAntCAAACe4IAAAJ7wgAAAnwCAAACfEIAAAJ8ggAAAnzCAAACfQIAAAJ9QgAAAn2CAAACfcIAAAJ+AgAAAn5CAAACfoIAAANDAeOBgAAAAEAAAAgAAAABB9BcGxvcmlzLkJhc2UuT2JqZWN0cy5EYXRhT2JqZWN0AwAAAAnoCAAACfgIAAAJ8AgAAAnyCAAACfUIAAAJ7AgAAAntCAAACeoIAAAJ9ggAAAnzCAAACecIAAAJ9wgAAAn0CAAACesIAAAJ+QgAAAnvCAAACe4IAAAJ+ggAAAnxCAAACekIAAANDAGPBgAAaQAAAAoKAAAAAAAAAAANAAAAAAEBkAYAAGkAAAAKCgEAAAAAAAAA/////wABB5EGAAAAAQAAAAQAAAAEHUFwbG9yaXMuQmFzZS5PYmplY3RzLlZhcmlhYmxlAwAAAAH7CAAATwEAAAEAAAAAAAAAAfwIAABPAQAAAAAAAAAAAAAB/QgAAE8BAAAAAAAAAAAAAAH+CAAATwEAAAAAAAAAAAAAD5IGAAABAAAACAAAAAAHkwYAAAABAAAAIAAAAAQeQXBsb3Jpcy5DaGFydC5DaGFydERhdGFFbGVtZW50AgAAAAn/CAAACQAJAAAJAQkAAAkCCQAACQMJAAAJBAkAAAkFCQAACQYJAAAJBwkAAAkICQAACQkJAAAJCgkAAAkLCQAACQwJAAAJDQkAAAkOCQAACQ8JAAAJEAkAAAkRCQAACRIJAAANDAeUBgAAAAEAAAAgAAAABB9BcGxvcmlzLkJhc2UuT2JqZWN0cy5EYXRhT2JqZWN0AwAAAAkACQAACRAJAAAJCAkAAAkKCQAACQ0JAAAJBAkAAAkFCQAACQIJAAAJDgkAAAkLCQAACf8IAAAJDwkAAAkMCQAACQMJAAAJEQkAAAkHCQAACQYJAAAJEgkAAAkJCQAACQEJAAANDAGVBgAAaQAAAAoKAAAAAAAAAAANAAAAAAEBlgYAAGkAAAAKCgEAAAAAAAAA/////wABB5cGAAAAAQAAAAQAAAAEHUFwbG9yaXMuQmFzZS5PYmplY3RzLlZhcmlhYmxlAwAAAAETCQAATwEAAAEAAAAAAAAAARQJAABPAQAAAAAAAAAAAAABFQkAAE8BAAAAAAAAAAAAAAEWCQAATwEAAAAAAAAAAAAAD5gGAAABAAAACAAAAAAHmQYAAAABAAAAIAAAAAQeQXBsb3Jpcy5DaGFydC5DaGFydERhdGFFbGVtZW50AgAAAAkXCQAACRgJAAAJGQkAAAkaCQAACRsJAAAJHAkAAAkdCQAACR4JAAAJHwkAAAkgCQAACSEJAAAJIgkAAAkjCQAACSQJAAAJJQkAAAkmCQAACScJAAAJKAkAAAkpCQAACSoJAAANDAeaBgAAAAEAAAAgAAAABB9BcGxvcmlzLkJhc2UuT2JqZWN0cy5EYXRhT2JqZWN0AwAAAAkYCQAACSgJAAAJIAkAAAkiCQAACSUJAAAJHAkAAAkdCQAACRoJAAAJJgkAAAkjCQAACRcJAAAJJwkAAAkkCQAACRsJAAAJKQkAAAkfCQAACR4JAAAJKgkAAAkhCQAACRkJAAANDAGbBgAAaQAAAAoKAAAAAAAAAAANAAAAAAEBnAYAAGkAAAAKCgEAAAAAAAAA/////wABB50GAAAAAQAAAAQAAAAEHUFwbG9yaXMuQmFzZS5PYmplY3RzLlZhcmlhYmxlAwAAAAErCQAATwEAAAEAAAAAAAAAASwJAABPAQAAAAAAAAAAAAABLQkAAE8BAAAAAAAAAAAAAAEuCQAATwEAAAAAAAAAAAAAD54GAAABAAAACAAAAAAHnwYAAAABAAAAIAAAAAQeQXBsb3Jpcy5DaGFydC5DaGFydERhdGFFbGVtZW50AgAAAAkvCQAACTAJAAAJMQkAAAkyCQAACTMJAAAJNAkAAAk1CQAACTYJAAAJNwkAAAk4CQAACTkJAAAJOgkAAAk7CQAACTwJAAAJPQkAAAk+CQAACT8JAAAJQAkAAAlBCQAACUIJAAANDAegBgAAAAEAAAAgAAAABB9BcGxvcmlzLkJhc2UuT2JqZWN0cy5EYXRhT2JqZWN0AwAAAAkwCQAACUAJAAAJOAkAAAk6CQAACT0JAAAJNAkAAAk1CQAACTIJAAAJPgkAAAk7CQAACS8JAAAJPwkAAAk8CQAACTMJAAAJQQkAAAk3CQAACTYJAAAJQgkAAAk5CQAACTEJAAANDAGhBgAAaQAAAAoKAAAAAAAAAAANAAAAAAEBogYAAGkAAAAKCgEAAAAAAAAA/////wABB6MGAAAAAQAAAAQAAAAEHUFwbG9yaXMuQmFzZS5PYmplY3RzLlZhcmlhYmxlAwAAAAFDCQAATwEAAAEAAAAAAAAAAUQJAABPAQAAAAAAAAAAAAABRQkAAE8BAAAAAAAAAAAAAAFGCQAATwEAAAAAAAAAAAAAD6QGAAABAAAACAAAAAAHpQYAAAABAAAAIAAAAAQeQXBsb3Jpcy5DaGFydC5DaGFydERhdGFFbGVtZW50AgAAAAlHCQAACUgJAAAJSQkAAAlKCQAACUsJAAAJTAkAAAlNCQAACU4JAAAJTwkAAAlQCQAACVEJAAAJUgkAAAlTCQAACVQJAAAJVQkAAAlWCQAACVcJAAAJWAkAAAlZCQAACVoJAAANDAemBgAAAAEAAAAgAAAABB9BcGxvcmlzLkJhc2UuT2JqZWN0cy5EYXRhT2JqZWN0AwAAAAlICQAACVgJAAAJUAkAAAlSCQAACVUJAAAJTAkAAAlNCQAACUoJAAAJVgkAAAlTCQAACUcJAAAJVwkAAAlUCQAACUsJAAAJWQkAAAlPCQAACU4JAAAJWgkAAAlRCQAACUkJAAANDAGnBgAAaQAAAAoKAAAAAAAAAAANAAAAAAEBqAYAAGkAAAAKCgEAAAAAAAAA/////wABB6kGAAAAAQAAAAQAAAAEHUFwbG9yaXMuQmFzZS5PYmplY3RzLlZhcmlhYmxlAwAAAAFbCQAATwEAAAEAAAAAAAAAAVwJAABPAQAAAAAAAAAAAAABXQkAAE8BAAAAAAAAAAAAAAFeCQAATwEAAAAAAAAAAAAAD6oGAAABAAAACAAAAAAHqwYAAAABAAAAIAAAAAQeQXBsb3Jpcy5DaGFydC5DaGFydERhdGFFbGVtZW50AgAAAAlfCQAACWAJAAAJYQkAAAliCQAACWMJAAAJZAkAAAllCQAACWYJAAAJZwkAAAloCQAACWkJAAAJagkAAAlrCQAACWwJAAAJbQkAAAluCQAACW8JAAAJcAkAAAlxCQAACXIJAAANDAesBgAAAAEAAAAgAAAABB9BcGxvcmlzLkJhc2UuT2JqZWN0cy5EYXRhT2JqZWN0AwAAAAlgCQAACXAJAAAJaAkAAAlqCQAACW0JAAAJZAkAAAllCQAACWIJAAAJbgkAAAlrCQAACV8JAAAJbwkAAAlsCQAACWMJAAAJcQkAAAlnCQAACWYJAAAJcgkAAAlpCQAACWEJAAANDAGtBgAAaQAAAAoKAAAAAAAAAAANAAAAAAEBrgYAAGkAAAAKCgEAAAAAAAAA/////wABB68GAAAAAQAAAAQAAAAEHUFwbG9yaXMuQmFzZS5PYmplY3RzLlZhcmlhYmxlAwAAAAFzCQAATwEAAAEAAAAAAAAAAXQJAABPAQAAAAAAAAAAAAABdQkAAE8BAAAAAAAAAAAAAAF2CQAATwEAAAAAAAAAAAAAD7AGAAABAAAACAAAAAAHsQYAAAABAAAAIAAAAAQeQXBsb3Jpcy5DaGFydC5DaGFydERhdGFFbGVtZW50AgAAAAl3CQAACXgJAAAJeQkAAAl6CQAACXsJAAAJfAkAAAl9CQAACX4JAAAJfwkAAAmACQAACYEJAAAJggkAAAmDCQAACYQJAAAJhQkAAAmGCQAACYcJAAAJiAkAAAmJCQAACYoJAAANDAeyBgAAAAEAAAAgAAAABB9BcGxvcmlzLkJhc2UuT2JqZWN0cy5EYXRhT2JqZWN0AwAAAAl4CQAACYgJAAAJgAkAAAmCCQAACYUJAAAJfAkAAAl9CQAACXoJAAAJhgkAAAmDCQAACXcJAAAJhwkAAAmECQAACXsJAAAJiQkAAAl/CQAACX4JAAAJigkAAAmBCQAACXkJAAANDAGzBgAAaQAAAAoKAAAAAAAAAAANAAAAAAEBtAYAAGkAAAAKCgEAAAAAAAAA/////wABB7UGAAAAAQAAAAQAAAAEHUFwbG9yaXMuQmFzZS5PYmplY3RzLlZhcmlhYmxlAwAAAAGLCQAATwEAAAEAAAAAAAAAAYwJAABPAQAAAAAAAAAAAAABjQkAAE8BAAAAAAAAAAAAAAGOCQAATwEAAAAAAAAAAAAAD7YGAAABAAAACAAAAAAHtwYAAAABAAAAIAAAAAQeQXBsb3Jpcy5DaGFydC5DaGFydERhdGFFbGVtZW50AgAAAAmPCQAACZAJAAAJkQkAAAmSCQAACZMJAAAJlAkAAAmVCQAACZYJAAAJlwkAAAmYCQAACZkJAAAJmgkAAAmbCQAACZwJAAAJnQkAAAmeCQAACZ8JAAAJoAkAAAmhCQAACaIJAAANDAe4BgAAAAEAAAAgAAAABB9BcGxvcmlzLkJhc2UuT2JqZWN0cy5EYXRhT2JqZWN0AwAAAAmQCQAACaAJAAAJmAkAAAmaCQAACZ0JAAAJlAkAAAmVCQAACZIJAAAJngkAAAmbCQAACY8JAAAJnwkAAAmcCQAACZMJAAAJoQkAAAmXCQAACZYJAAAJogkAAAmZCQAACZEJAAANDAG5BgAAaQAAAAoKAAAAAAAAAAANAAAAAAEBugYAAGkAAAAKCgEAAAAAAAAA/////wABB7sGAAAAAQAAAAQAAAAEHUFwbG9yaXMuQmFzZS5PYmplY3RzLlZhcmlhYmxlAwAAAAGjCQAATwEAAAEAAAAAAAAAAaQJAABPAQAAAAAAAAAAAAABpQkAAE8BAAAAAAAAAAAAAAGmCQAATwEAAAAAAAAAAAAAD7wGAAABAAAACAAAAAAHvQYAAAABAAAAIAAAAAQeQXBsb3Jpcy5DaGFydC5DaGFydERhdGFFbGVtZW50AgAAAAmnCQAACagJAAAJqQkAAAmqCQAACasJAAAJrAkAAAmtCQAACa4JAAAJrwkAAAmwCQAACbEJAAAJsgkAAAmzCQAACbQJAAAJtQkAAAm2CQAACbcJAAAJuAkAAAm5CQAACboJAAANDAe+BgAAAAEAAAAgAAAABB9BcGxvcmlzLkJhc2UuT2JqZWN0cy5EYXRhT2JqZWN0AwAAAAmoCQAACbgJAAAJsAkAAAmyCQAACbUJAAAJrAkAAAmtCQAACaoJAAAJtgkAAAmzCQAACacJAAAJtwkAAAm0CQAACasJAAAJuQkAAAmvCQAACa4JAAAJugkAAAmxCQAACakJAAANDAG/BgAAaQAAAAoKAAAAAAAAAAANAAAAAAEBwAYAAGkAAAAKCgEAAAAAAAAA/////wABB8EGAAAAAQAAAAQAAAAEHUFwbG9yaXMuQmFzZS5PYmplY3RzLlZhcmlhYmxlAwAAAAG7CQAATwEAAAEAAAAAAAAAAbwJAABPAQAAAAAAAAAAAAABvQkAAE8BAAAAAAAAAAAAAAG+CQAATwEAAAAAAAAAAAAAD8IGAAABAAAACAAAAAAHwwYAAAABAAAAIAAAAAQeQXBsb3Jpcy5DaGFydC5DaGFydERhdGFFbGVtZW50AgAAAAm/CQAACcAJAAAJwQkAAAnCCQAACcMJAAAJxAkAAAnFCQAACcYJAAAJxwkAAAnICQAACckJAAAJygkAAAnLCQAACcwJAAAJzQkAAAnOCQAACc8JAAAJ0AkAAAnRCQAACdIJAAANDAfEBgAAAAEAAAAgAAAABB9BcGxvcmlzLkJhc2UuT2JqZWN0cy5EYXRhT2JqZWN0AwAAAAnACQAACdAJAAAJyAkAAAnKCQAACc0JAAAJxAkAAAnFCQAACcIJAAAJzgkAAAnLCQAACb8JAAAJzwkAAAnMCQAACcMJAAAJ0QkAAAnHCQAACcYJAAAJ0gkAAAnJCQAACcEJAAANDAHFBgAAaQAAAAoKAAAAAAAAAAANAAAAAAEBxgYAAGkAAAAKCgEAAAAAAAAA/////wABB8cGAAAAAQAAAAQAAAAEHUFwbG9yaXMuQmFzZS5PYmplY3RzLlZhcmlhYmxlAwAAAAHTCQAATwEAAAEAAAAAAAAAAdQJAABPAQAAAAAAAAAAAAAB1QkAAE8BAAAAAAAAAAAAAAHWCQAATwEAAAAAAAAAAAAAD8gGAAABAAAACAAAAAAHyQYAAAABAAAAIAAAAAQeQXBsb3Jpcy5DaGFydC5DaGFydERhdGFFbGVtZW50AgAAAAnXCQAACdgJAAAJ2QkAAAnaCQAACdsJAAAJ3AkAAAndCQAACd4JAAAJ3wkAAAngCQAACeEJAAAJ4gkAAAnjCQAACeQJAAAJ5QkAAAnmCQAACecJAAAJ6AkAAAnpCQAACeoJAAANDAfKBgAAAAEAAAAgAAAABB9BcGxvcmlzLkJhc2UuT2JqZWN0cy5EYXRhT2JqZWN0AwAAAAnYCQAACegJAAAJ4AkAAAniCQAACeUJAAAJ3AkAAAndCQAACdoJAAAJ5gkAAAnjCQAACdcJAAAJ5wkAAAnkCQAACdsJAAAJ6QkAAAnfCQAACd4JAAAJ6gkAAAnhCQAACdkJAAANDAHLBgAAaQAAAAoKAAAAAAAAAAANAAAAAAEBzAYAAGkAAAAKCgEAAAAAAAAA/////wABB80GAAAAAQAAAAQAAAAEHUFwbG9yaXMuQmFzZS5PYmplY3RzLlZhcmlhYmxlAwAAAAHrCQAATwEAAAEAAAAAAAAAAewJAABPAQAAAAAAAAAAAAAB7QkAAE8BAAAAAAAAAAAAAAHuCQAATwEAAAAAAAAAAAAAD84GAAABAAAACAAAAAAHzwYAAAABAAAAIAAAAAQeQXBsb3Jpcy5DaGFydC5DaGFydERhdGFFbGVtZW50AgAAAAnvCQAACfAJAAAJ8QkAAAnyCQAACfMJAAAJ9AkAAAn1CQAACfYJAAAJ9wkAAAn4CQAACfkJAAAJ+gkAAAn7CQAACfwJAAAJ/QkAAAn+CQAACf8JAAAJAAoAAAkBCgAACQIKAAANDAfQBgAAAAEAAAAgAAAABB9BcGxvcmlzLkJhc2UuT2JqZWN0cy5EYXRhT2JqZWN0AwAAAAnwCQAACQAKAAAJ+AkAAAn6CQAACf0JAAAJ9AkAAAn1CQAACfIJAAAJ/gkAAAn7CQAACe8JAAAJ/wkAAAn8CQAACfMJAAAJAQoAAAn3CQAACfYJAAAJAgoAAAn5CQAACfEJAAANDAHRBgAAaQAAAAoKAAAAAAAAAAANAAAAAAEB0gYAAGkAAAAKCgEAAAAAAAAA/////wABB9MGAAAAAQAAAAQAAAAEHUFwbG9yaXMuQmFzZS5PYmplY3RzLlZhcmlhYmxlAwAAAAEDCgAATwEAAAEAAAAAAAAAAQQKAABPAQAAAAAAAAAAAAABBQoAAE8BAAAAAAAAAAAAAAEGCgAATwEAAAAAAAAAAAAAD9QGAAABAAAACAAAAAAH1QYAAAABAAAAIAAAAAQeQXBsb3Jpcy5DaGFydC5DaGFydERhdGFFbGVtZW50AgAAAAkHCgAACQgKAAAJCQoAAAkKCgAACQsKAAAJDAoAAAkNCgAACQ4KAAAJDwoAAAkQCgAACREKAAAJEgoAAAkTCgAACRQKAAAJFQoAAAkWCgAACRcKAAAJGAoAAAkZCgAACRoKAAANDAfWBgAAAAEAAAAgAAAABB9BcGxvcmlzLkJhc2UuT2JqZWN0cy5EYXRhT2JqZWN0AwAAAAkICgAACRgKAAAJEAoAAAkSCgAACRUKAAAJDAoAAAkNCgAACQoKAAAJFgoAAAkTCgAACQcKAAAJFwoAAAkUCgAACQsKAAAJGQoAAAkPCgAACQ4KAAAJGgoAAAkRCgAACQkKAAANDAHXBgAAaQAAAAoKAAAAAAAAAAANAAAAAAEB2AYAAGkAAAAKCgEAAAAAAAAA/////wABB9kGAAAAAQAAAAQAAAAEHUFwbG9yaXMuQmFzZS5PYmplY3RzLlZhcmlhYmxlAwAAAAEbCgAATwEAAAEAAAAAAAAAARwKAABPAQAAAAAAAAAAAAABHQoAAE8BAAAAAAAAAAAAAAEeCgAATwEAAAAAAAAAAAAAD9oGAAABAAAACAAAAAAH2wYAAAABAAAAIAAAAAQeQXBsb3Jpcy5DaGFydC5DaGFydERhdGFFbGVtZW50AgAAAAkfCgAACSAKAAAJIQoAAAkiCgAACSMKAAAJJAoAAAklCgAACSYKAAAJJwoAAAkoCgAACSkKAAAJKgoAAAkrCgAACSwKAAAJLQoAAAkuCgAACS8KAAAJMAoAAAkxCgAACTIKAAANDAfcBgAAAAEAAAAgAAAABB9BcGxvcmlzLkJhc2UuT2JqZWN0cy5EYXRhT2JqZWN0AwAAAAkgCgAACTAKAAAJKAoAAAkqCgAACS0KAAAJJAoAAAklCgAACSIKAAAJLgoAAAkrCgAACR8KAAAJLwoAAAksCgAACSMKAAAJMQoAAAknCgAACSYKAAAJMgoAAAkpCgAACSEKAAANDAHdBgAAaQAAAAoKAAAAAAAAAAANAAAAAAEB3gYAAGkAAAAKCgEAAAAAAAAA/////wABB98GAAAAAQAAAAQAAAAEHUFwbG9yaXMuQmFzZS5PYmplY3RzLlZhcmlhYmxlAwAAAAEzCgAATwEAAAEAAAAAAAAAATQKAABPAQAAAAAAAAAAAAABNQoAAE8BAAAAAAAAAAAAAAE2CgAATwEAAAAAAAAAAAAAD+AGAAABAAAACAAAAAAH4QYAAAABAAAAIAAAAAQeQXBsb3Jpcy5DaGFydC5DaGFydERhdGFFbGVtZW50AgAAAAk3CgAACTgKAAAJOQoAAAk6CgAACTsKAAAJPAoAAAk9CgAACT4KAAAJPwoAAAlACgAACUEKAAAJQgoAAAlDCgAACUQKAAAJRQoAAAlGCgAACUcKAAAJSAoAAAlJCgAACUoKAAANDAfiBgAAAAEAAAAgAAAABB9BcGxvcmlzLkJhc2UuT2JqZWN0cy5EYXRhT2JqZWN0AwAAAAk4CgAACUgKAAAJQAoAAAlCCgAACUUKAAAJPAoAAAk9CgAACToKAAAJRgoAAAlDCgAACTcKAAAJRwoAAAlECgAACTsKAAAJSQoAAAk/CgAACT4KAAAJSgoAAAlBCgAACTkKAAANDAHjBgAAaQAAAAoKAAAAAAAAAAANAAAAAAEB5AYAAGkAAAAKCgEAAAAAAAAA/////wABB+UGAAAAAQAAAAQAAAAEHUFwbG9yaXMuQmFzZS5PYmplY3RzLlZhcmlhYmxlAwAAAAFLCgAATwEAAAEAAAAAAAAAAUwKAABPAQAAAAAAAAAAAAABTQoAAE8BAAAAAAAAAAAAAAFOCgAATwEAAAAAAAAAAAAAD+YGAAABAAAACAAAAAAH5wYAAAABAAAAIAAAAAQeQXBsb3Jpcy5DaGFydC5DaGFydERhdGFFbGVtZW50AgAAAAlPCgAACVAKAAAJUQoAAAlSCgAACVMKAAAJVAoAAAlVCgAACVYKAAAJVwoAAAlYCgAACVkKAAAJWgoAAAlbCgAACVwKAAAJXQoAAAleCgAACV8KAAAJYAoAAAlhCgAACWIKAAANDAfoBgAAAAEAAAAgAAAABB9BcGxvcmlzLkJhc2UuT2JqZWN0cy5EYXRhT2JqZWN0AwAAAAlQCgAACWAKAAAJWAoAAAlaCgAACV0KAAAJVAoAAAlVCgAACVIKAAAJXgoAAAlbCgAACU8KAAAJXwoAAAlcCgAACVMKAAAJYQoAAAlXCgAACVYKAAAJYgoAAAlZCgAACVEKAAANDAHpBgAAaQAAAAoKAAAAAAAAAAANAAAAAAEB6gYAAGkAAAAKCgEAAAAAAAAA/////wABB+sGAAAAAQAAAAQAAAAEHUFwbG9yaXMuQmFzZS5PYmplY3RzLlZhcmlhYmxlAwAAAAFjCgAATwEAAAEAAAAAAAAAAWQKAABPAQAAAAAAAAAAAAABZQoAAE8BAAAAAAAAAAAAAAFmCgAATwEAAAAAAAAAAAAAD+wGAAABAAAACAAAAAAH7QYAAAABAAAAIAAAAAQeQXBsb3Jpcy5DaGFydC5DaGFydERhdGFFbGVtZW50AgAAAAlnCgAACWgKAAAJaQoAAAlqCgAACWsKAAAJbAoAAAltCgAACW4KAAAJbwoAAAlwCgAACXEKAAAJcgoAAAlzCgAACXQKAAAJdQoAAAl2CgAACXcKAAAJeAoAAAl5CgAACXoKAAANDAfuBgAAAAEAAAAgAAAABB9BcGxvcmlzLkJhc2UuT2JqZWN0cy5EYXRhT2JqZWN0AwAAAAloCgAACXgKAAAJcAoAAAlyCgAACXUKAAAJbAoAAAltCgAACWoKAAAJdgoAAAlzCgAACWcKAAAJdwoAAAl0CgAACWsKAAAJeQoAAAlvCgAACW4KAAAJegoAAAlxCgAACWkKAAANDAHvBgAAaQAAAAoKAAAAAAAAAAANAAAAAAEB8AYAAGkAAAAKCgEAAAAAAAAA/////wABB/EGAAAAAQAAAAQAAAAEHUFwbG9yaXMuQmFzZS5PYmplY3RzLlZhcmlhYmxlAwAAAAF7CgAATwEAAAEAAAAAAAAAAXwKAABPAQAAAAAAAAAAAAABfQoAAE8BAAAAAAAAAAAAAAF+CgAATwEAAAAAAAAAAAAAD/IGAAABAAAACAAAAAAB8wYAAGkAAAAKCgAAAAAAAAAADQAAAAAAAfQGAABpAAAACgoBAAAAAAAAAP////8AAQf1BgAAAAEAAAAEAAAABB1BcGxvcmlzLkJhc2UuT2JqZWN0cy5WYXJpYWJsZQMAAAABfwoAAE8BAAABAAAAAAAAAAGACgAATwEAAAAAAAAAAAAAAYEKAABPAQAAAAAAAAAAAAABggoAAE8BAAAAAAAAAAAAAA/2BgAAAQAAAAgxAAAAB/cGAAAAAQAAACAAAAAEH0FwbG9yaXMuQ2hhcnQuQW5ub3RhdGlvbkVsZW1lbnQCAAAACYMKAAAJhAoAAAmFCgAACYYKAAAJhwoAAAmICgAACYkKAAAJigoAAAmLCgAACYwKAAAJjQoAAAmOCgAACY8KAAAJkAoAAAmRCgAACZIKAAAJkwoAAAmUCgAACZUKAAAJlgoAAA0MB/gGAAAAAQAAACAAAAAEH0FwbG9yaXMuQmFzZS5PYmplY3RzLkRhdGFPYmplY3QDAAAACYQKAAAJlAoAAAmMCgAACY4KAAAJkQoAAAmICgAACYkKAAAJhgoAAAmSCgAACY8KAAAJgwoAAAmTCgAACZAKAAAJhwoAAAmVCgAACYsKAAAJigoAAAmWCgAACY0KAAAJhQoAAA0MBfsG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EFwbG9yaXMuQ2hhcnQuQ2hhcnREYXRhR3JvdXACAAAAAQEBCxpBcGxvcmlzLkJhc2UuT2JqZWN0cy5Db2xvcgMAAAABARpBcGxvcmlzLkJhc2UuT2JqZWN0cy5Db2xvcgMAAAADAAAACTsBAAAKAAAAAABAQQmHAAAACgmXCgAAAQAJmAoAAAH8BgAAaQAAAAoKAAAAAP///wAOAAAAAAEBAQcAAG4AAAAJmQoAAAEAAAADAAAAAQIHAABwAAAACZoKAAAKAQMHAABpAAAACgoAAAAAAAAAAA0AAAAAAAEEBwAAaQAAAAoKAAAAAAAAAAANAAAAAAEHBQcAAAABAAAABAAAAAQdQXBsb3Jpcy5CYXNlLk9iamVjdHMuVmFyaWFibGUDAAAAAZsKAABPAQAAAQAAAAAAAAABnAoAAE8BAAAAAAAAAAAAAAGdCgAATwEAAAAAAAAAAAAAAZ4KAABPAQAAAAAAAAAAAAAPBgcAAAEAAAAIMgAAAAUJB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CBAAABBxBcGxvcmlzLkNoYXJ0LkNoYXJ0RGF0YUdyb3VwAgAAAAEBAQsaQXBsb3Jpcy5CYXNlLk9iamVjdHMuQ29sb3IDAAAAAQEaQXBsb3Jpcy5CYXNlLk9iamVjdHMuQ29sb3IDAAAAAwAAAAk8AQAACgAAAAAAQEEJhwAAAAoJnwoAAAEACaAKAAABCgcAAGkAAAAKCgAAAAD///8ADgAAAAABAQ8HAABuAAAACaEKAAABAAAAAQAAAAEQBwAAcAAAAAmiCgAACgERBwAAaQAAAAoKAAAAAAAAAAANAAAAAAABEgcAAGkAAAAKCgAAAAAAAAAADQAAAAABBxMHAAAAAQAAAAQAAAAEHUFwbG9yaXMuQmFzZS5PYmplY3RzLlZhcmlhYmxlAwAAAAGjCgAATwEAAAEAAAAAAAAAAaQKAABPAQAAAAAAAAAAAAABpQoAAE8BAAAAAAAAAAAAAAGmCgAATwEAAAAAAAAAAAAADxQHAAABAAAACDAAAAAFFwc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gQAAAQcQXBsb3Jpcy5DaGFydC5DaGFydERhdGFHcm91cAIAAAABAQELGkFwbG9yaXMuQmFzZS5PYmplY3RzLkNvbG9yAwAAAAEBGkFwbG9yaXMuQmFzZS5PYmplY3RzLkNvbG9yAwAAAAMAAAAJPQEAAAoAAAAAAEBBCYcAAAAKCacKAAABAAmoCgAAARgHAABpAAAACgoAAAAA////AA4AAAAAAQEdBwAAbgAAAAmpCgAAAQAAAAMAAAABHgcAAHAAAAAJqgoAAAoBHwcAAGkAAAAKCgAAAAAAAAAADQAAAAAAASAHAABpAAAACgoAAAAAAAAAAA0AAAAAAQchBwAAAAEAAAAEAAAABB1BcGxvcmlzLkJhc2UuT2JqZWN0cy5WYXJpYWJsZQMAAAABqwoAAE8BAAABAAAAAAAAAAGsCgAATwEAAAAAAAAAAAAAAa0KAABPAQAAAAAAAAAAAAABrgoAAE8BAAAAAAAAAAAAAA8iBwAAAQAAAAgvAAAABSUH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EFwbG9yaXMuQ2hhcnQuQ2hhcnREYXRhR3JvdXACAAAAAQEBCxpBcGxvcmlzLkJhc2UuT2JqZWN0cy5Db2xvcgMAAAABARpBcGxvcmlzLkJhc2UuT2JqZWN0cy5Db2xvcgMAAAADAAAACT4BAAAKAAAAAABAQQmHAAAACgmvCgAAAQAJsAoAAAEmBwAAaQAAAAoKAAAAAP///wAOAAAAAAEBKwcAAG4AAAAJsQoAAAEAAAADAAAAASwHAABwAAAACbIKAAAKAS0HAABpAAAACgoAAAAAAAAAAA0AAAAAAAEuBwAAaQAAAAoKAAAAAAAAAAANAAAAAAEHLwcAAAABAAAABAAAAAQdQXBsb3Jpcy5CYXNlLk9iamVjdHMuVmFyaWFibGUDAAAAAbMKAABPAQAAAQAAAAAAAAABtAoAAE8BAAAAAAAAAAAAAAG1CgAATwEAAAAAAAAAAAAAAbYKAABPAQAAAAAAAAAAAAAPMAcAAAEAAAAINgAAAAUzB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CBAAABBxBcGxvcmlzLkNoYXJ0LkNoYXJ0RGF0YUdyb3VwAgAAAAEBAQsaQXBsb3Jpcy5CYXNlLk9iamVjdHMuQ29sb3IDAAAAAQEaQXBsb3Jpcy5CYXNlLk9iamVjdHMuQ29sb3IDAAAAAwAAAAk/AQAACgAAAAAAQEEJhwAAAAoJtwoAAAEACbgKAAABNAcAAGkAAAAKCgAAAAD///8ADgAAAAABATkHAABuAAAACbkKAAABAAAAAwAAAAE6BwAAcAAAAAm6CgAACgE7BwAAaQAAAAoKAAAAAAAAAAANAAAAAAABPAcAAGkAAAAKCgAAAAAAAAAADQAAAAABBz0HAAAAAQAAAAQAAAAEHUFwbG9yaXMuQmFzZS5PYmplY3RzLlZhcmlhYmxlAwAAAAG7CgAATwEAAAEAAAAAAAAAAbwKAABPAQAAAAAAAAAAAAABvQoAAE8BAAAAAAAAAAAAAAG+CgAATwEAAAAAAAAAAAAADz4HAAABAAAACDoAAAAFQQc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gQAAAQcQXBsb3Jpcy5DaGFydC5DaGFydERhdGFHcm91cAIAAAABAQELGkFwbG9yaXMuQmFzZS5PYmplY3RzLkNvbG9yAwAAAAEBGkFwbG9yaXMuQmFzZS5PYmplY3RzLkNvbG9yAwAAAAMAAAAJQAEAAAoAAAAAAEBBCYcAAAAKCb8KAAABAAnACgAAAUIHAABpAAAACgoAAAAA////AA4AAAAAAQFHBwAAbgAAAAnBCgAAAQAAAAMAAAABSAcAAHAAAAAJwgoAAAoBSQcAAGkAAAAKCgAAAAAAAAAADQAAAAAAAUoHAABpAAAACgoAAAAAAAAAAA0AAAAAAQdLBwAAAAEAAAAEAAAABB1BcGxvcmlzLkJhc2UuT2JqZWN0cy5WYXJpYWJsZQMAAAABwwoAAE8BAAABAAAAAAAAAAHECgAATwEAAAAAAAAAAAAAAcUKAABPAQAAAAAAAAAAAAABxgoAAE8BAAAAAAAAAAAAAA9MBwAAAQAAAAgzAAAABU8H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EFwbG9yaXMuQ2hhcnQuQ2hhcnREYXRhR3JvdXACAAAAAQEBCxpBcGxvcmlzLkJhc2UuT2JqZWN0cy5Db2xvcgMAAAABARpBcGxvcmlzLkJhc2UuT2JqZWN0cy5Db2xvcgMAAAADAAAACUEBAAAKAAAAAABAQQmHAAAACgnHCgAAAQAJyAoAAAFQBwAAaQAAAAoKAAAAAP///wAOAAAAAAEBVQcAAG4AAAAJyQoAAAEAAAADAAAAAVYHAABwAAAACcoKAAAKAVcHAABpAAAACgoAAAAAAAAAAA0AAAAAAAFYBwAAaQAAAAoKAAAAAAAAAAANAAAAAAEHWQcAAAABAAAABAAAAAQdQXBsb3Jpcy5CYXNlLk9iamVjdHMuVmFyaWFibGUDAAAAAcsKAABPAQAAAQAAAAAAAAABzAoAAE8BAAAAAAAAAAAAAAHNCgAATwEAAAAAAAAAAAAAAc4KAABPAQAAAAAAAAAAAAAPWgcAAAEAAAAIOAAAAAVdB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CBAAABBxBcGxvcmlzLkNoYXJ0LkNoYXJ0RGF0YUdyb3VwAgAAAAEBAQsaQXBsb3Jpcy5CYXNlLk9iamVjdHMuQ29sb3IDAAAAAQEaQXBsb3Jpcy5CYXNlLk9iamVjdHMuQ29sb3IDAAAAAwAAAAlCAQAACgAAAAAAQEEJhwAAAAoJzwoAAAEACdAKAAABXgcAAGkAAAAKCgAAAAD///8ADgAAAAABAWMHAABuAAAACdEKAAABAAAAAwAAAAFkBwAAcAAAAAnSCgAACgFlBwAAaQAAAAoKAAAAAAAAAAANAAAAAAABZgcAAGkAAAAKCgAAAAAAAAAADQAAAAABB2cHAAAAAQAAAAQAAAAEHUFwbG9yaXMuQmFzZS5PYmplY3RzLlZhcmlhYmxlAwAAAAHTCgAATwEAAAEAAAAAAAAAAdQKAABPAQAAAAAAAAAAAAAB1QoAAE8BAAAAAAAAAAAAAAHWCgAATwEAAAAAAAAAAAAAD2gHAAABAAAACD4AAAAFawc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gQAAAQcQXBsb3Jpcy5DaGFydC5DaGFydERhdGFHcm91cAIAAAABAQELGkFwbG9yaXMuQmFzZS5PYmplY3RzLkNvbG9yAwAAAAEBGkFwbG9yaXMuQmFzZS5PYmplY3RzLkNvbG9yAwAAAAMAAAAJQwEAAAoAAAAAAEBBCYcAAAAKCdcKAAABAAnYCgAAAWwHAABpAAAACgoAAAAA////AA4AAAAAAQFxBwAAbgAAAAnZCgAAAQAAAAMAAAABcgcAAHAAAAAJ2goAAAoBcwcAAGkAAAAKCgAAAAAAAAAADQAAAAAAAXQHAABpAAAACgoAAAAAAAAAAA0AAAAAAQd1BwAAAAEAAAAEAAAABB1BcGxvcmlzLkJhc2UuT2JqZWN0cy5WYXJpYWJsZQMAAAAB2woAAE8BAAABAAAAAAAAAAHcCgAATwEAAAAAAAAAAAAAAd0KAABPAQAAAAAAAAAAAAAB3goAAE8BAAAAAAAAAAAAAA92BwAAAQAAAAhAAAAABXkH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EFwbG9yaXMuQ2hhcnQuQ2hhcnREYXRhR3JvdXACAAAAAQEBCxpBcGxvcmlzLkJhc2UuT2JqZWN0cy5Db2xvcgMAAAABARpBcGxvcmlzLkJhc2UuT2JqZWN0cy5Db2xvcgMAAAADAAAACUQBAAAKAAAAAABAQQmHAAAACgnfCgAAAQAJ4AoAAAF6BwAAaQAAAAoKAAAAAP///wAOAAAAAAEBfwcAAG4AAAAJ4QoAAAEAAAADAAAAAYAHAABwAAAACeIKAAAKAYEHAABpAAAACgoAAAAAAAAAAA0AAAAAAAGCBwAAaQAAAAoKAAAAAAAAAAANAAAAAAEHgwcAAAABAAAABAAAAAQdQXBsb3Jpcy5CYXNlLk9iamVjdHMuVmFyaWFibGUDAAAAAeMKAABPAQAAAQAAAAAAAAAB5AoAAE8BAAAAAAAAAAAAAAHlCgAATwEAAAAAAAAAAAAAAeYKAABPAQAAAAAAAAAAAAAPhAcAAAEAAAAINwAAAAWHB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CBAAABBxBcGxvcmlzLkNoYXJ0LkNoYXJ0RGF0YUdyb3VwAgAAAAEBAQsaQXBsb3Jpcy5CYXNlLk9iamVjdHMuQ29sb3IDAAAAAQEaQXBsb3Jpcy5CYXNlLk9iamVjdHMuQ29sb3IDAAAAAwAAAAlFAQAACgAAAAAAQEEJhwAAAAoJ5woAAAEACegKAAABiAcAAGkAAAAKCgAAAAD///8ADgAAAAABAY0HAABuAAAACekKAAABAAAAAwAAAAGOBwAAcAAAAAnqCgAACgGPBwAAaQAAAAoKAAAAAAAAAAANAAAAAAABkAcAAGkAAAAKCgAAAAAAAAAADQAAAAABB5EHAAAAAQAAAAQAAAAEHUFwbG9yaXMuQmFzZS5PYmplY3RzLlZhcmlhYmxlAwAAAAHrCgAATwEAAAEAAAAAAAAAAewKAABPAQAAAAAAAAAAAAAB7QoAAE8BAAAAAAAAAAAAAAHuCgAATwEAAAAAAAAAAAAAD5IHAAABAAAACDsAAAAFlQc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gQAAAQcQXBsb3Jpcy5DaGFydC5DaGFydERhdGFHcm91cAIAAAABAQELGkFwbG9yaXMuQmFzZS5PYmplY3RzLkNvbG9yAwAAAAEBGkFwbG9yaXMuQmFzZS5PYmplY3RzLkNvbG9yAwAAAAMAAAAJRgEAAAoAAAAAAEBBCYcAAAAKCe8KAAABAAnwCgAAAZYHAABpAAAACgoAAAAA////AA4AAAAAAQGbBwAAbgAAAAnxCgAAAQAAAAMAAAABnAcAAHAAAAAJ8goAAAoBnQcAAGkAAAAKCgAAAAAAAAAADQAAAAAAAZ4HAABpAAAACgoAAAAAAAAAAA0AAAAAAQefBwAAAAEAAAAEAAAABB1BcGxvcmlzLkJhc2UuT2JqZWN0cy5WYXJpYWJsZQMAAAAB8woAAE8BAAABAAAAAAAAAAH0CgAATwEAAAAAAAAAAAAAAfUKAABPAQAAAAAAAAAAAAAB9goAAE8BAAAAAAAAAAAAAA+gBwAAAQAAAAg1AAAABaMH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EFwbG9yaXMuQ2hhcnQuQ2hhcnREYXRhR3JvdXACAAAAAQEBCxpBcGxvcmlzLkJhc2UuT2JqZWN0cy5Db2xvcgMAAAABARpBcGxvcmlzLkJhc2UuT2JqZWN0cy5Db2xvcgMAAAADAAAACUcBAAAKAAAAAABAQQmHAAAACgn3CgAAAQAJ+AoAAAGkBwAAaQAAAAoKAAAAAP///wAOAAAAAAEBqQcAAG4AAAAJ+QoAAAEAAAADAAAAAaoHAABwAAAACfoKAAAKAasHAABpAAAACgoAAAAAAAAAAA0AAAAAAAGsBwAAaQAAAAoKAAAAAAAAAAANAAAAAAEHrQcAAAABAAAABAAAAAQdQXBsb3Jpcy5CYXNlLk9iamVjdHMuVmFyaWFibGUDAAAAAfsKAABPAQAAAQAAAAAAAAAB/AoAAE8BAAAAAAAAAAAAAAH9CgAATwEAAAAAAAAAAAAAAf4KAABPAQAAAAAAAAAAAAAPrgcAAAEAAAAILAAAAAWxB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CBAAABBxBcGxvcmlzLkNoYXJ0LkNoYXJ0RGF0YUdyb3VwAgAAAAEBAQsaQXBsb3Jpcy5CYXNlLk9iamVjdHMuQ29sb3IDAAAAAQEaQXBsb3Jpcy5CYXNlLk9iamVjdHMuQ29sb3IDAAAAAwAAAAlIAQAACgAAAAAAQEEJhwAAAAoJ/woAAAEACQALAAABsgcAAGkAAAAKCgAAAAD///8ADgAAAAABAbcHAABuAAAACQELAAABAAAAAwAAAAG4BwAAcAAAAAkCCwAACgG5BwAAaQAAAAoKAAAAAAAAAAANAAAAAAABugcAAGkAAAAKCgAAAAAAAAAADQAAAAABB7sHAAAAAQAAAAQAAAAEHUFwbG9yaXMuQmFzZS5PYmplY3RzLlZhcmlhYmxlAwAAAAEDCwAATwEAAAEAAAAAAAAAAQQLAABPAQAAAAAAAAAAAAABBQsAAE8BAAAAAAAAAAAAAAEGCwAATwEAAAAAAAAAAAAAD7wHAAABAAAACEEAAAAFvwc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gQAAAQcQXBsb3Jpcy5DaGFydC5DaGFydERhdGFHcm91cAIAAAABAQELGkFwbG9yaXMuQmFzZS5PYmplY3RzLkNvbG9yAwAAAAEBGkFwbG9yaXMuQmFzZS5PYmplY3RzLkNvbG9yAwAAAAMAAAAJSQEAAAoAAAAAAEBBCYcAAAAKCQcLAAABAAkICwAAAcAHAABpAAAACgoAAAAA////AA4AAAAAAQHFBwAAbgAAAAkJCwAAAQAAAAMAAAABxgcAAHAAAAAJCgsAAAoBxwcAAGkAAAAKCgAAAAAAAAAADQAAAAAAAcgHAABpAAAACgoAAAAAAAAAAA0AAAAAAQfJBwAAAAEAAAAEAAAABB1BcGxvcmlzLkJhc2UuT2JqZWN0cy5WYXJpYWJsZQMAAAABCwsAAE8BAAABAAAAAAAAAAEMCwAATwEAAAAAAAAAAAAAAQ0LAABPAQAAAAAAAAAAAAABDgsAAE8BAAAAAAAAAAAAAA/KBwAAAQAAAAg0AAAABc0H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EFwbG9yaXMuQ2hhcnQuQ2hhcnREYXRhR3JvdXACAAAAAQEBCxpBcGxvcmlzLkJhc2UuT2JqZWN0cy5Db2xvcgMAAAABARpBcGxvcmlzLkJhc2UuT2JqZWN0cy5Db2xvcgMAAAADAAAACUoBAAAKAAAAAABAQQmHAAAACgkPCwAAAQAJEAsAAAHOBwAAaQAAAAoKAAAAAP///wAOAAAAAAEB0wcAAG4AAAAJEQsAAAEAAAADAAAAAdQHAABwAAAACRILAAAKAdUHAABpAAAACgoAAAAAAAAAAA0AAAAAAAHWBwAAaQAAAAoKAAAAAAAAAAANAAAAAAEH1wcAAAABAAAABAAAAAQdQXBsb3Jpcy5CYXNlLk9iamVjdHMuVmFyaWFibGUDAAAAARMLAABPAQAAAQAAAAAAAAABFAsAAE8BAAAAAAAAAAAAAAEVCwAATwEAAAAAAAAAAAAAARYLAABPAQAAAAAAAAAAAAAP2AcAAAEAAAAILgAAAAXbBw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CBAAABBxBcGxvcmlzLkNoYXJ0LkNoYXJ0RGF0YUdyb3VwAgAAAAEBAQsaQXBsb3Jpcy5CYXNlLk9iamVjdHMuQ29sb3IDAAAAAQEaQXBsb3Jpcy5CYXNlLk9iamVjdHMuQ29sb3IDAAAAAwAAAAlLAQAACgAAAAAAQEEJhwAAAAoJFwsAAAEACRgLAAAB3AcAAGkAAAAKCgAAAAD///8ADgAAAAABAeEHAABuAAAACRkLAAABAAAAAwAAAAHiBwAAcAAAAAkaCwAACgHjBwAAaQAAAAoKAAAAAAAAAAANAAAAAAAB5AcAAGkAAAAKCgAAAAAAAAAADQAAAAABB+UHAAAAAQAAAAQAAAAEHUFwbG9yaXMuQmFzZS5PYmplY3RzLlZhcmlhYmxlAwAAAAEbCwAATwEAAAEAAAAAAAAAARwLAABPAQAAAAAAAAAAAAABHQsAAE8BAAAAAAAAAAAAAAEeCwAATwEAAAAAAAAAAAAAD+YHAAABAAAACD8AAAAF6Qc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gQAAAQcQXBsb3Jpcy5DaGFydC5DaGFydERhdGFHcm91cAIAAAABAQELGkFwbG9yaXMuQmFzZS5PYmplY3RzLkNvbG9yAwAAAAEBGkFwbG9yaXMuQmFzZS5PYmplY3RzLkNvbG9yAwAAAAMAAAAJTAEAAAoAAAAAAEBBCYcAAAAKCR8LAAABAAkgCwAAAeoHAABpAAAACgoAAAAA////AA4AAAAAAQHvBwAAbgAAAAkhCwAAAQAAAAMAAAAB8AcAAHAAAAAJIgsAAAoB8QcAAGkAAAAKCgAAAAAAAAAADQAAAAAAAfIHAABpAAAACgoAAAAAAAAAAA0AAAAAAQfzBwAAAAEAAAAEAAAABB1BcGxvcmlzLkJhc2UuT2JqZWN0cy5WYXJpYWJsZQMAAAABIwsAAE8BAAABAAAAAAAAAAEkCwAATwEAAAAAAAAAAAAAASULAABPAQAAAAAAAAAAAAABJgsAAE8BAAAAAAAAAAAAAA/0BwAAAQAAAAgtAAAABfcH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EFwbG9yaXMuQ2hhcnQuQ2hhcnREYXRhR3JvdXACAAAAAQEBCxpBcGxvcmlzLkJhc2UuT2JqZWN0cy5Db2xvcgMAAAABARpBcGxvcmlzLkJhc2UuT2JqZWN0cy5Db2xvcgMAAAADAAAACU0BAAAKAAAAAABAQQmHAAAACgknCwAAAQAJKAsAAAH4BwAAaQAAAAoKAAAAAP///wAOAAAAAAEB/QcAAG4AAAAJKQsAAAEAAAADAAAAAf4HAABwAAAACSoLAAAKAf8HAABpAAAACgoAAAAAAAAAAA0AAAAAAAEACAAAaQAAAAoKAAAAAAAAAAANAAAAAAEHAQgAAAABAAAABAAAAAQdQXBsb3Jpcy5CYXNlLk9iamVjdHMuVmFyaWFibGUDAAAAASsLAABPAQAAAQAAAAAAAAABLAsAAE8BAAAAAAAAAAAAAAEtCwAATwEAAAAAAAAAAAAAAS4LAABPAQAAAAAAAAAAAAAPAggAAAEAAAAIPQAAAAUFCAAAH0FwbG9yaXMuQmFzZS5PYmplY3RzLlRleHRGb3JtYXQMAAAAEkRhdGFPYmplY3QrbVBhcmVudBVEYXRhT2JqZWN0K21Db250YWluZXIJbUZvbnRCb2xkC21Gb250SXRhbGljDm1Gb250VW5kZXJsaW5lCW1Gb250U2l6ZQltRm9udE5hbWUQbUZvbnRGYXJFYXN0TmFtZQptRm9udENvbG9yCW1Nb2RpZmllZBJtQXV0b0NvbG9yRGlzYWJsZWQKbUF1dG9Db2xvcgQCAAAAAAECBAAABBxBcGxvcmlzLkNoYXJ0LkNoYXJ0RGF0YUdyb3VwAgAAAAEBAQsaQXBsb3Jpcy5CYXNlLk9iamVjdHMuQ29sb3IDAAAAAQEaQXBsb3Jpcy5CYXNlLk9iamVjdHMuQ29sb3IDAAAAAwAAAAlOAQAACgAAAAAAQEEJhwAAAAoJLwsAAAEACTALAAABBggAAGkAAAAKCgAAAAD///8ADgAAAAABAQsIAABuAAAACTELAAABAAAAAwAAAAEMCAAAcAAAAAkyCwAACgENCAAAaQAAAAoKAAAAAAAAAAANAAAAAAABDggAAGkAAAAKCgAAAAAAAAAADQAAAAABBw8IAAAAAQAAAAQAAAAEHUFwbG9yaXMuQmFzZS5PYmplY3RzLlZhcmlhYmxlAwAAAAEzCwAATwEAAAEAAAAAAAAAATQLAABPAQAAAAAAAAAAAAABNQsAAE8BAAAAAAAAAAAAAAE2CwAATwEAAAAAAAAAAAAADxAIAAABAAAACDwAAAABEQgAAGkAAAAKCgAAAAAAAAAADQAAAAAABRIIAAAaQXBsb3Jpcy5CYXNlLk9iamVjdHMuQ29sb3IHAAAAEkRhdGFPYmplY3QrbVBhcmVudBVEYXRhT2JqZWN0K21Db250YWluZXIFbVR5cGUEbVJHQhBtVGhlbWVDb2xvckluZGV4DG1BdXRvVXBkYXRlZAltTW9kaWZpZWQEAgAAAAAAH0FwbG9yaXMuQmFzZS5PYmplY3RzLkxpbmVGb3JtYXQDAAAACAgIAQEDAAAACdMFAAAKAQAAAAAAAAD/////AAEPEwgAAAEAAAAIpgAAAAEUCAAAaQAAAAoKAAAAAAAAAAANAAAAAAABFQgAAGkAAAAKCgAAAAAAAAAADQAAAAABBxYIAAAAAQAAAAQAAAAEHUFwbG9yaXMuQmFzZS5PYmplY3RzLlZhcmlhYmxlAwAAAAE3CwAATwEAAAEAAAAAAAAAATgLAABPAQAAAAAAAAAAAAABOQsAAE8BAAAAAAAAAAAAAAE6CwAATwEAAAAAAAAAAAAADxcIAAABAAAACJUAAAABGAgAAGkAAAAKCgAAAAAAAAAADQAAAAAABRkIAAAaQXBsb3Jpcy5CYXNlLk9iamVjdHMuQ29sb3IHAAAAEkRhdGFPYmplY3QrbVBhcmVudBVEYXRhT2JqZWN0K21Db250YWluZXIFbVR5cGUEbVJHQhBtVGhlbWVDb2xvckluZGV4DG1BdXRvVXBkYXRlZAltTW9kaWZpZWQEAgAAAAAAH0FwbG9yaXMuQmFzZS5PYmplY3RzLkxpbmVGb3JtYXQDAAAACAgIAQEDAAAACeMFAAAKAQAAAAAAAAD/////AAEPGggAAAEAAAAIpAAAAAEbCAAAaQAAAAoKAAAAAAAAAAANAAAAAAABHAgAAGkAAAAKCgAAAAAAAAAADQAAAAABBx0IAAAAAQAAAAQAAAAEHUFwbG9yaXMuQmFzZS5PYmplY3RzLlZhcmlhYmxlAwAAAAE7CwAATwEAAAEAAAAAAAAAATwLAABPAQAAAAAAAAAAAAABPQsAAE8BAAAAAAAAAAAAAAE+CwAATwEAAAAAAAAAAAAADx4IAAABAAAACJIAAAABHwgAAGkAAAAKCgAAAAAAAAAADQAAAAAABSAIAAAaQXBsb3Jpcy5CYXNlLk9iamVjdHMuQ29sb3IHAAAAEkRhdGFPYmplY3QrbVBhcmVudBVEYXRhT2JqZWN0K21Db250YWluZXIFbVR5cGUEbVJHQhBtVGhlbWVDb2xvckluZGV4DG1BdXRvVXBkYXRlZAltTW9kaWZpZWQEAgAAAAAAH0FwbG9yaXMuQmFzZS5PYmplY3RzLkxpbmVGb3JtYXQDAAAACAgIAQEDAAAACfIFAAAKAQAAAAAAAAD/////AAEPIQgAAAEAAAAIrQAAAAEiCAAAaQAAAAoKAAAAAAAAAAANAAAAAAABIwgAAGkAAAAKCgAAAAAAAAAADQAAAAABByQIAAAAAQAAAAQAAAAEHUFwbG9yaXMuQmFzZS5PYmplY3RzLlZhcmlhYmxlAwAAAAE/CwAATwEAAAEAAAAAAAAAAUALAABPAQAAAAAAAAAAAAABQQsAAE8BAAAAAAAAAAAAAAFCCwAATwEAAAAAAAAAAAAADyUIAAABAAAACJQAAAABJggAAGkAAAAKCgAAAAAAAAAADQAAAAAABScIAAAaQXBsb3Jpcy5CYXNlLk9iamVjdHMuQ29sb3IHAAAAEkRhdGFPYmplY3QrbVBhcmVudBVEYXRhT2JqZWN0K21Db250YWluZXIFbVR5cGUEbVJHQhBtVGhlbWVDb2xvckluZGV4DG1BdXRvVXBkYXRlZAltTW9kaWZpZWQEAgAAAAAAH0FwbG9yaXMuQmFzZS5PYmplY3RzLkxpbmVGb3JtYXQDAAAACAgIAQEDAAAACQEGAAAKAQAAAAAAAAD/////AAEPKAgAAAEAAAAIqwAAAAEpCAAAaQAAAAoKAAAAAAAAAAANAAAAAAABKggAAGkAAAAKCgAAAAAAAAAADQAAAAABBysIAAAAAQAAAAQAAAAEHUFwbG9yaXMuQmFzZS5PYmplY3RzLlZhcmlhYmxlAwAAAAFDCwAATwEAAAEAAAAAAAAAAUQLAABPAQAAAAAAAAAAAAABRQsAAE8BAAAAAAAAAAAAAAFGCwAATwEAAAAAAAAAAAAADywIAAABAAAACIwAAAABLQgAAGkAAAAKCgAAAAAAAAAADQAAAAAABS4IAAAaQXBsb3Jpcy5CYXNlLk9iamVjdHMuQ29sb3IHAAAAEkRhdGFPYmplY3QrbVBhcmVudBVEYXRhT2JqZWN0K21Db250YWluZXIFbVR5cGUEbVJHQhBtVGhlbWVDb2xvckluZGV4DG1BdXRvVXBkYXRlZAltTW9kaWZpZWQEAgAAAAAAH0FwbG9yaXMuQmFzZS5PYmplY3RzLkxpbmVGb3JtYXQDAAAACAgIAQEDAAAACRAGAAAKAQAAAAAAAAD/////AAEPLwgAAAEAAAAIrAAAAAEwCAAAaQAAAAoKAAAAAAAAAAANAAAAAAABMQgAAGkAAAAKCgAAAAAAAAAADQAAAAABBzIIAAAAAQAAAAQAAAAEHUFwbG9yaXMuQmFzZS5PYmplY3RzLlZhcmlhYmxlAwAAAAFHCwAATwEAAAEAAAAAAAAAAUgLAABPAQAAAAAAAAAAAAABSQsAAE8BAAAAAAAAAAAAAAFKCwAATwEAAAAAAAAAAAAADzMIAAABAAAACI4AAAABNAgAAGkAAAAKCgAAAAAAAAAADQAAAAAABTUIAAAaQXBsb3Jpcy5CYXNlLk9iamVjdHMuQ29sb3IHAAAAEkRhdGFPYmplY3QrbVBhcmVudBVEYXRhT2JqZWN0K21Db250YWluZXIFbVR5cGUEbVJHQhBtVGhlbWVDb2xvckluZGV4DG1BdXRvVXBkYXRlZAltTW9kaWZpZWQEAgAAAAAAH0FwbG9yaXMuQmFzZS5PYmplY3RzLkxpbmVGb3JtYXQDAAAACAgIAQEDAAAACR8GAAAKAQAAAAAAAAD/////AAEPNggAAAEAAAAIqQAAAAE3CAAAaQAAAAoKAAAAAAAAAAANAAAAAAABOAgAAGkAAAAKCgAAAAAAAAAADQAAAAABBzkIAAAAAQAAAAQAAAAEHUFwbG9yaXMuQmFzZS5PYmplY3RzLlZhcmlhYmxlAwAAAAFLCwAATwEAAAEAAAAAAAAAAUwLAABPAQAAAAAAAAAAAAABTQsAAE8BAAAAAAAAAAAAAAFOCwAATwEAAAAAAAAAAAAADzoIAAABAAAACJAAAAABOwgAAGkAAAAKCgAAAAAAAAAADQAAAAAABTwIAAAaQXBsb3Jpcy5CYXNlLk9iamVjdHMuQ29sb3IHAAAAEkRhdGFPYmplY3QrbVBhcmVudBVEYXRhT2JqZWN0K21Db250YWluZXIFbVR5cGUEbVJHQhBtVGhlbWVDb2xvckluZGV4DG1BdXRvVXBkYXRlZAltTW9kaWZpZWQEAgAAAAAAH0FwbG9yaXMuQmFzZS5PYmplY3RzLkxpbmVGb3JtYXQDAAAACAgIAQEDAAAACS4GAAAKAQAAAAAAAAD/////AAEPPQgAAAEAAAAIqgAAAAE+CAAAaQAAAAoKAAAAAAAAAAANAAAAAAABPwgAAGkAAAAKCgAAAAAAAAAADQAAAAABB0AIAAAAAQAAAAQAAAAEHUFwbG9yaXMuQmFzZS5PYmplY3RzLlZhcmlhYmxlAwAAAAFPCwAATwEAAAEAAAAAAAAAAVALAABPAQAAAAAAAAAAAAABUQsAAE8BAAAAAAAAAAAAAAFSCwAATwEAAAAAAAAAAAAAD0EIAAABAAAACJMAAAABQggAAGkAAAAKCgAAAAAAAAAADQAAAAAABUMIAAAaQXBsb3Jpcy5CYXNlLk9iamVjdHMuQ29sb3IHAAAAEkRhdGFPYmplY3QrbVBhcmVudBVEYXRhT2JqZWN0K21Db250YWluZXIFbVR5cGUEbVJHQhBtVGhlbWVDb2xvckluZGV4DG1BdXRvVXBkYXRlZAltTW9kaWZpZWQEAgAAAAAAH0FwbG9yaXMuQmFzZS5PYmplY3RzLkxpbmVGb3JtYXQDAAAACAgIAQEDAAAACT0GAAAKAQAAAAAAAAD/////AAEPRAgAAAEAAAAIqAAAAAFFCAAAaQAAAAoKAAAAAAAAAAANAAAAAAABRggAAGkAAAAKCgAAAAAAAAAADQAAAAABB0cIAAAAAQAAAAQAAAAEHUFwbG9yaXMuQmFzZS5PYmplY3RzLlZhcmlhYmxlAwAAAAFTCwAATwEAAAEAAAAAAAAAAVQLAABPAQAAAAAAAAAAAAABVQsAAE8BAAAAAAAAAAAAAAFWCwAATwEAAAAAAAAAAAAAD0gIAAABAAAACI8AAAABSQgAAGkAAAAKCgAAAAAAAAAADQAAAAAABUoIAAAaQXBsb3Jpcy5CYXNlLk9iamVjdHMuQ29sb3IHAAAAEkRhdGFPYmplY3QrbVBhcmVudBVEYXRhT2JqZWN0K21Db250YWluZXIFbVR5cGUEbVJHQhBtVGhlbWVDb2xvckluZGV4DG1BdXRvVXBkYXRlZAltTW9kaWZpZWQEAgAAAAAAH0FwbG9yaXMuQmFzZS5PYmplY3RzLkxpbmVGb3JtYXQDAAAACAgIAQEDAAAACUwGAAAKAQAAAAAAAAD/////AAEPSwgAAAEAAAAIpwAAAAFMCAAAaQAAAAoKAAAAAAAAAAANAAAAAAABTQgAAGkAAAAKCgAAAAAAAAAADQAAAAABB04IAAAAAQAAAAQAAAAEHUFwbG9yaXMuQmFzZS5PYmplY3RzLlZhcmlhYmxlAwAAAAFXCwAATwEAAAEAAAAAAAAAAVgLAABPAQAAAAAAAAAAAAABWQsAAE8BAAAAAAAAAAAAAAFaCwAATwEAAAAAAAAAAAAAD08IAAABAAAACJEAAAABUAgAAGkAAAAKCgAAAAAAAAAADQAAAAAABVEIAAAaQXBsb3Jpcy5CYXNlLk9iamVjdHMuQ29sb3IHAAAAEkRhdGFPYmplY3QrbVBhcmVudBVEYXRhT2JqZWN0K21Db250YWluZXIFbVR5cGUEbVJHQhBtVGhlbWVDb2xvckluZGV4DG1BdXRvVXBkYXRlZAltTW9kaWZpZWQEAgAAAAAAH0FwbG9yaXMuQmFzZS5PYmplY3RzLkxpbmVGb3JtYXQDAAAACAgIAQEDAAAACVsGAAAKAQAAAAAAAAD/////AAEPUggAAAEAAAAIpQAAAAFTCAAAaQAAAAoKAAAAAAAAAAANAAAAAAABVAgAAGkAAAAKCgAAAAAAAAAADQAAAAABB1UIAAAAAQAAAAQAAAAEHUFwbG9yaXMuQmFzZS5PYmplY3RzLlZhcmlhYmxlAwAAAAFbCwAATwEAAAEAAAAAAAAAAVwLAABPAQAAAAAAAAAAAAABXQsAAE8BAAAAAAAAAAAAAAFeCwAATwEAAAAAAAAAAAAAD1YIAAABAAAACI0AAAAFVwg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S4wLjE2NDQ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S4wLjE2NDQsIEN1bHR1cmU9bmV1dHJhbCwgUHVibGljS2V5VG9rZW49MTZmYzEzYTIyNmMwZTk1MV1dAgAAAAoKCglfCwAACgkjAQAACgoAAAAACgoAAAAAAAlgCwAACSMBAAAJAQAAAAlhCwAAAVgIAABXCAAACWILAAAJYwsAAAoJZAsAAAoJIwEAAAgGZmZmZmZm1j8KAQAAAAllCwAACWYLAAAAAAAAAAlnCwAACSMBAAAJAQAAAAloCwAAAVkIAABXCAAACgoKCWkLAAAKCSMBAAAKCgIAAAAKCgAAAAAACWoLAAAJIwEAAAkBAAAACWsLAAABWggAAFcIAAAKCgoJbAsAAAoJIwEAAAoKAwAAAAoKAAAAAAAJbQsAAAkjAQAACQEAAAAJbgsAAAFbCAAAVwgAAAoKCglvCwAACgkjAQAACgoEAAAACgoAAAAAAAlwCwAACSMBAAAJAQAAAAlxCwAAAVwIAABXCAAACgoKCXILAAAKCSMBAAAKCgUAAAAKCgAAAAAACXMLAAAJIwEAAAkBAAAACXQLAAABXQgAAFcIAAAKCgoJdQsAAAoJIwEAAAoKBgAAAAoKAAAAAAAJdgsAAAkjAQAACQEAAAAJdwsAAAFeCAAAVwgAAAoKCgl4CwAACgkjAQAACgoHAAAACgoAAAAAAAl5CwAACSMBAAAJAQAAAAl6CwAAAV8IAABXCAAACgoKCXsLAAAKCSMBAAAKCggAAAAKCgAAAAAACXwLAAAJIwEAAAkBAAAACX0LAAABYAgAAFcIAAAKCgoJfgsAAAoJIwEAAAoKCQAAAAl/CwAACYALAAAAAAAAAAmBCwAACSMBAAAJAQAAAAmCCwAAAWEIAABXCAAACgoKCYMLAAAKCSMBAAAKCgoAAAAKCgAAAAAACYQLAAAJIwEAAAkBAAAACYULAAABYggAAFcIAAAKCgoJhgsAAAoJIwEAAAoKCwAAAAoKAAAAAAAJhwsAAAkjAQAACQEAAAAJiAsAAAFjCAAAVwgAAAoKCgmJCwAACgkjAQAACgoMAAAACgoAAAAAAAmKCwAACSMBAAAJAQAAAAmLCwAAAWQIAABXCAAACgoKCYwLAAAKCSMBAAAKCg0AAAAKCgAAAAAACY0LAAAJIwEAAAkBAAAACY4LAAABZQgAAFcIAAAKCgoJjwsAAAoJIwEAAAoKDgAAAAoKAAAAAAAJkAsAAAkjAQAACQEAAAAJkQsAAAFmCAAAVwgAAAoKCgmSCwAACgkjAQAACgoPAAAACgoAAAAAAAmTCwAACSMBAAAJAQAAAAmUCwAAAWcIAABXCAAACgoKCZULAAAKCSMBAAAKChAAAAAKCgAAAAAACZYLAAAJIwEAAAkBAAAACZcLAAABaAgAAFcIAAAKCgoJmAsAAAoJIwEAAAoKEQAAAAmZCwAACZoLAAAAAAAAAAmbCwAACSMBAAAJAQAAAAmcCwAAAWkIAABXCAAACgoKCZ0LAAAKCSMBAAAKChIAAAAKCgAAAAAACZ4LAAAJIwEAAAkBAAAACZ8LAAABaggAAFcIAAAKCgoJoAsAAAoJIwEAAAoKEwAAAAoKAAAAAAAJoQsAAAkjAQAACQEAAAAJogsAAAFvCAAAVwgAAAoKCgmjCwAACgkkAQAACgoAAAAACgoAAAAAAAmkCwAACSQBAAAJAQAAAAmlCwAAAXAIAABXCAAACgoKCaYLAAAKCSQBAAAKCgEAAAAKCgAAAAAACacLAAAJJAEAAAkBAAAACagLAAABcQgAAFcIAAAKCgoJqQsAAAoJJAEAAAoKAgAAAAoKAAAAAAAJqgsAAAkkAQAACQEAAAAJqwsAAAFyCAAAVwgAAAoKCgmsCwAACgkkAQAACgoDAAAACgoAAAAAAAmtCwAACSQBAAAJAQAAAAmuCwAAAXMIAABXCAAACgoKCa8LAAAKCSQBAAAKCgQAAAAKCgAAAAAACbALAAAJJAEAAAkBAAAACbELAAABdAgAAFcIAAAKCgoJsgsAAAoJJAEAAAoKBQAAAAoKAAAAAAAJswsAAAkkAQAACQEAAAAJtAsAAAF1CAAAVwgAAAoKCgm1CwAACgkkAQAACgoGAAAACgoAAAAAAAm2CwAACSQBAAAJAQAAAAm3CwAAAXYIAABXCAAACgoKCbgLAAAKCSQBAAAKCgcAAAAKCgAAAAAACbkLAAAJJAEAAAkBAAAACboLAAABdwgAAFcIAAAKCgoJuwsAAAoJJAEAAAoKCAAAAAoKAAAAAAAJvAsAAAkkAQAACQEAAAAJvQsAAAF4CAAAVwgAAAoKCgm+CwAACgkkAQAACgoJAAAACgoAAAAAAAm/CwAACSQBAAAJAQAAAAnACwAAAXkIAABXCAAACgoKCcELAAAKCSQBAAAKCgoAAAAKCgAAAAAACcILAAAJJAEAAAkBAAAACcMLAAABeggAAFcIAAAKCgoJxAsAAAoJJAEAAAoKCwAAAAoKAAAAAAAJxQsAAAkkAQAACQEAAAAJxgsAAAF7CAAAVwgAAAoKCgnHCwAACgkkAQAACgoMAAAACgoAAAAAAAnICwAACSQBAAAJAQAAAAnJCwAAAXwIAABXCAAACgoKCcoLAAAKCSQBAAAKCg0AAAAKCgAAAAAACcsLAAAJJAEAAAkBAAAACcwLAAABfQgAAFcIAAAKCgoJzQsAAAoJJAEAAAoKDgAAAAoKAAAAAAAJzgsAAAkkAQAACQEAAAAJzwsAAAF+CAAAVwgAAAoKCgnQCwAACgkkAQAACgoPAAAACgoAAAAAAAnRCwAACSQBAAAJAQAAAAnSCwAAAX8IAABXCAAACgoKCdMLAAAKCSQBAAAKChAAAAAKCgAAAAAACdQLAAAJJAEAAAkBAAAACdULAAABgAgAAFcIAAAJ1gsAAAnXCwAACgnYCwAACgkkAQAACAZ7FK5H4XqkPwoRAAAACdkLAAAJ2gsAAAAAAAAACdsLAAAJJAEAAAkBAAAACdwLAAABgQgAAFcIAAAKCgoJ3QsAAAoJJAEAAAoKEgAAAAoKAAAAAAAJ3gsAAAkkAQAACQEAAAAJ3wsAAAGCCAAAVwgAAAoKCgngCwAACgkkAQAACgoTAAAACgoAAAAAAAnhCwAACSQBAAAJAQAAAAniCwAAAYcIAABXCAAACgoKCeMLAAAKCSUBAAAKCgAAAAAKCgAAAAAACeQLAAAJJQEAAAkBAAAACeULAAABiAgAAFcIAAAKCgoJ5gsAAAoJJQEAAAoKAQAAAAoKAAAAAAAJ5wsAAAklAQAACQEAAAAJ6AsAAAGJCAAAVwgAAAoKCgnpCwAACgklAQAACgoCAAAACgoAAAAAAAnqCwAACSUBAAAJAQAAAAnrCwAAAYoIAABXCAAACgoKCewLAAAKCSUBAAAKCgMAAAAKCgAAAAAACe0LAAAJJQEAAAkBAAAACe4LAAABiwgAAFcIAAAKCgoJ7wsAAAoJJQEAAAoKBAAAAAoKAAAAAAAJ8AsAAAklAQAACQEAAAAJ8QsAAAGMCAAAVwgAAAoKCgnyCwAACgklAQAACgoFAAAACgoAAAAAAAnzCwAACSUBAAAJAQAAAAn0CwAAAY0IAABXCAAACgoKCfULAAAKCSUBAAAKCgYAAAAKCgAAAAAACfYLAAAJJQEAAAkBAAAACfcLAAABjggAAFcIAAAKCgoJ+AsAAAoJJQEAAAoKBwAAAAoKAAAAAAAJ+QsAAAklAQAACQEAAAAJ+gsAAAGPCAAAVwgAAAoKCgn7CwAACgklAQAACgoIAAAACgoAAAAAAAn8CwAACSUBAAAJAQAAAAn9CwAAAZAIAABXCAAACf4LAAAJ/wsAAAoJAAwAAAoJJQEAAAgGpHA9CtejwD8KCQAAAAkBDAAACQIMAAAAAAAAAAkDDAAACSUBAAAJAQAAAAkEDAAAAZEIAABXCAAACgoKCQUMAAAKCSUBAAAKCgoAAAAKCgAAAAAACQYMAAAJJQEAAAkBAAAACQcMAAABkggAAFcIAAAKCgoJCAwAAAoJJQEAAAoKCwAAAAoKAAAAAAAJCQwAAAklAQAACQEAAAAJCgwAAAGTCAAAVwgAAAoKCgkLDAAACgklAQAACgoMAAAACgoAAAAAAAkMDAAACSUBAAAJAQAAAAkNDAAAAZQIAABXCAAACgoKCQ4MAAAKCSUBAAAKCg0AAAAKCgAAAAAACQ8MAAAJJQEAAAkBAAAACRAMAAABlQgAAFcIAAAKCgoJEQwAAAoJJQEAAAoKDgAAAAoKAAAAAAAJEgwAAAklAQAACQEAAAAJEwwAAAGWCAAAVwgAAAoKCgkUDAAACgklAQAACgoPAAAACgoAAAAAAAkVDAAACSUBAAAJAQAAAAkWDAAAAZcIAABXCAAACgoKCRcMAAAKCSUBAAAKChAAAAAKCgAAAAAACRgMAAAJJQEAAAkBAAAACRkMAAABmAgAAFcIAAAKCgoJGgwAAAoJJQEAAAoKEQAAAAoKAAAAAAAJGwwAAAklAQAACQEAAAAJHAwAAAGZCAAAVwgAAAoKCgkdDAAACgklAQAACgoSAAAACgoAAAAAAAkeDAAACSUBAAAJAQAAAAkfDAAAAZoIAABXCAAACgoKCSAMAAAKCSUBAAAKChMAAAAKCgAAAAAACSEMAAAJJQEAAAkBAAAACSIMAAABnwgAAFcIAAAKCgoJIwwAAAoJJgEAAAoKAAAAAAoKAAAAAAAJJAwAAAkmAQAACQEAAAAJJQwAAAGgCAAAVwgAAAoKCgkmDAAACgkmAQAACgoBAAAACgoAAAAAAAknDAAACSYBAAAJAQAAAAkoDAAAAaEIAABXCAAACgoKCSkMAAAKCSYBAAAKCgIAAAAKCgAAAAAACSoMAAAJJgEAAAkBAAAACSsMAAABoggAAFcIAAAKCgoJLAwAAAoJJgEAAAoKAwAAAAoKAAAAAAAJLQwAAAkmAQAACQEAAAAJLgwAAAGjCAAAVwgAAAoKCgkvDAAACgkmAQAACgoEAAAACgoAAAAAAAkwDAAACSYBAAAJAQAAAAkxDAAAAaQIAABXCAAACgoKCTIMAAAKCSYBAAAKCgUAAAAKCgAAAAAACTMMAAAJJgEAAAkBAAAACTQMAAABpQgAAFcIAAAKCgoJNQwAAAoJJgEAAAoKBgAAAAoKAAAAAAAJNgwAAAkmAQAACQEAAAAJNwwAAAGmCAAAVwgAAAoKCgk4DAAACgkmAQAACgoHAAAACgoAAAAAAAk5DAAACSYBAAAJAQAAAAk6DAAAAacIAABXCAAACgoKCTsMAAAKCSYBAAAKCggAAAAKCgAAAAAACTwMAAAJJgEAAAkBAAAACT0MAAABqAgAAFcIAAAKCgoJPgwAAAoJJgEAAAoKCQAAAAoKAAAAAAAJPwwAAAkmAQAACQEAAAAJQAwAAAGpCAAAVwgAAAoKCglBDAAACgkmAQAACgoKAAAACgoAAAAAAAlCDAAACSYBAAAJAQAAAAlDDAAAAaoIAABXCAAACUQMAAAJRQwAAAoJRgwAAAoJJgEAAAgG7FG4HoXrsT8KCwAAAAlHDAAACUgMAAAAAAAAAAlJDAAACSYBAAAJAQAAAAlKDAAAAasIAABXCAAACgoKCUsMAAAKCSYBAAAKCgwAAAAKCgAAAAAACUwMAAAJJgEAAAkBAAAACU0MAAABrAgAAFcIAAAKCgoJTgwAAAoJJgEAAAoKDQAAAAoKAAAAAAAJTwwAAAkmAQAACQEAAAAJUAwAAAGtCAAAVwgAAAoKCglRDAAACgkmAQAACgoOAAAACgoAAAAAAAlSDAAACSYBAAAJAQAAAAlTDAAAAa4IAABXCAAACgoKCVQMAAAKCSYBAAAKCg8AAAAKCgAAAAAACVUMAAAJJgEAAAkBAAAACVYMAAABrwgAAFcIAAAKCgoJVwwAAAoJJgEAAAoKEAAAAAoKAAAAAAAJWAwAAAkmAQAACQEAAAAJWQwAAAGwCAAAVwgAAAoKCglaDAAACgkmAQAACgoRAAAACgoAAAAAAAlbDAAACSYBAAAJAQAAAAlcDAAAAbEIAABXCAAACgoKCV0MAAAKCSYBAAAKChIAAAAKCgAAAAAACV4MAAAJJgEAAAkBAAAACV8MAAABsggAAFcIAAAKCgoJYAwAAAoJJgEAAAoKEwAAAAoKAAAAAAAJYQwAAAkmAQAACQEAAAAJYgwAAAG3CAAAVwgAAAoKCgljDAAACgknAQAACgoAAAAACgoAAAAAAAlkDAAACScBAAAJAQAAAAllDAAAAbgIAABXCAAACgoKCWYMAAAKCScBAAAKCgEAAAAKCgAAAAAACWcMAAAJJwEAAAkBAAAACWgMAAABuQgAAFcIAAAKCgoJaQwAAAoJJwEAAAoKAgAAAAoKAAAAAAAJagwAAAknAQAACQEAAAAJawwAAAG6CAAAVwgAAAoKCglsDAAACgknAQAACgoDAAAACgoAAAAAAAltDAAACScBAAAJAQAAAAluDAAAAbsIAABXCAAACgoKCW8MAAAKCScBAAAKCgQAAAAKCgAAAAAACXAMAAAJJwEAAAkBAAAACXEMAAABvAgAAFcIAAAKCgoJcgwAAAoJJwEAAAoKBQAAAAoKAAAAAAAJcwwAAAknAQAACQEAAAAJdAwAAAG9CAAAVwgAAAoKCgl1DAAACgknAQAACgoGAAAACgoAAAAAAAl2DAAACScBAAAJAQAAAAl3DAAAAb4IAABXCAAACgoKCXgMAAAKCScBAAAKCgcAAAAKCgAAAAAACXkMAAAJJwEAAAkBAAAACXoMAAABvwgAAFcIAAAKCgoJewwAAAoJJwEAAAoKCAAAAAoKAAAAAAAJfAwAAAknAQAACQEAAAAJfQwAAAHACAAAVwgAAAoKCgl+DAAACgknAQAACgoJAAAACgoAAAAAAAl/DAAACScBAAAJAQAAAAmADAAAAcEIAABXCAAACgoKCYEMAAAKCScBAAAKCgoAAAAKCgAAAAAACYIMAAAJJwEAAAkBAAAACYMMAAABwggAAFcIAAAJhAwAAAmFDAAACgmGDAAACgknAQAACAaamZmZmZmpPwoLAAAACYcMAAAJiAwAAAAAAAAACYkMAAAJJwEAAAkBAAAACYoMAAABwwgAAFcIAAAKCgoJiwwAAAoJJwEAAAoKDAAAAAoKAAAAAAAJjAwAAAknAQAACQEAAAAJjQwAAAHECAAAVwgAAAoKCgmODAAACgknAQAACgoNAAAACgoAAAAAAAmPDAAACScBAAAJAQAAAAmQDAAAAcUIAABXCAAACgoKCZEMAAAKCScBAAAKCg4AAAAKCgAAAAAACZIMAAAJJwEAAAkBAAAACZMMAAABxggAAFcIAAAKCgoJlAwAAAoJJwEAAAoKDwAAAAoKAAAAAAAJlQwAAAknAQAACQEAAAAJlgwAAAHHCAAAVwgAAAoKCgmXDAAACgknAQAACgoQAAAACgoAAAAAAAmYDAAACScBAAAJAQAAAAmZDAAAAcgIAABXCAAACgoKCZoMAAAKCScBAAAKChEAAAAKCgAAAAAACZsMAAAJJwEAAAkBAAAACZwMAAAByQgAAFcIAAAKCgoJnQwAAAoJJwEAAAoKEgAAAAoKAAAAAAAJngwAAAknAQAACQEAAAAJnwwAAAHKCAAAVwgAAAoKCgmgDAAACgknAQAACgoTAAAACgoAAAAAAAmhDAAACScBAAAJAQAAAAmiDAAAAc8IAABXCAAACgoKCaMMAAAKCSgBAAAKCgAAAAAKCgAAAAAACaQMAAAJKAEAAAkBAAAACaUMAAAB0AgAAFcIAAAKCgoJpgwAAAoJKAEAAAoKAQAAAAoKAAAAAAAJpwwAAAkoAQAACQEAAAAJqAwAAAHRCAAAVwgAAAoKCgmpDAAACgkoAQAACgoCAAAACgoAAAAAAAmqDAAACSgBAAAJAQAAAAmrDAAAAdIIAABXCAAACgoKCawMAAAKCSgBAAAKCgMAAAAKCgAAAAAACa0MAAAJKAEAAAkBAAAACa4MAAAB0wgAAFcIAAAKCgoJrwwAAAoJKAEAAAoKBAAAAAoKAAAAAAAJsAwAAAkoAQAACQEAAAAJsQwAAAHUCAAAVwgAAAoKCgmyDAAACgkoAQAACgoFAAAACgoAAAAAAAmzDAAACSgBAAAJAQAAAAm0DAAAAdUIAABXCAAACgoKCbUMAAAKCSgBAAAKCgYAAAAKCgAAAAAACbYMAAAJKAEAAAkBAAAACbcMAAAB1ggAAFcIAAAKCgoJuAwAAAoJKAEAAAoKBwAAAAoKAAAAAAAJuQwAAAkoAQAACQEAAAAJugwAAAHXCAAAVwgAAAoKCgm7DAAACgkoAQAACgoIAAAACgoAAAAAAAm8DAAACSgBAAAJAQAAAAm9DAAAAdgIAABXCAAACgoKCb4MAAAKCSgBAAAKCgkAAAAKCgAAAAAACb8MAAAJKAEAAAkBAAAACcAMAAAB2QgAAFcIAAAKCgoJwQwAAAoJKAEAAAoKCgAAAAoKAAAAAAAJwgwAAAkoAQAACQEAAAAJwwwAAAHaCAAAVwgAAAoKCgnEDAAACgkoAQAACgoLAAAACgoAAAAAAAnFDAAACSgBAAAJAQAAAAnGDAAAAdsIAABXCAAACgoKCccMAAAKCSgBAAAKCgwAAAAKCgAAAAAACcgMAAAJKAEAAAkBAAAACckMAAAB3AgAAFcIAAAKCgoJygwAAAoJKAEAAAoKDQAAAAoKAAAAAAAJywwAAAkoAQAACQEAAAAJzAwAAAHdCAAAVwgAAAnNDAAACc4MAAAKCc8MAAAKCSgBAAAIBuxRuB6F67E/Cg4AAAAJ0AwAAAnRDAAAAAAAAAAJ0gwAAAkoAQAACQEAAAAJ0wwAAAHeCAAAVwgAAAoKCgnUDAAACgkoAQAACgoPAAAACgoAAAAAAAnVDAAACSgBAAAJAQAAAAnWDAAAAd8IAABXCAAACgoKCdcMAAAKCSgBAAAKChAAAAAKCgAAAAAACdgMAAAJKAEAAAkBAAAACdkMAAAB4AgAAFcIAAAKCgoJ2gwAAAoJKAEAAAoKEQAAAAoKAAAAAAAJ2wwAAAkoAQAACQEAAAAJ3AwAAAHhCAAAVwgAAAoKCgndDAAACgkoAQAACgoSAAAACgoAAAAAAAneDAAACSgBAAAJAQAAAAnfDAAAAeIIAABXCAAACgoKCeAMAAAKCSgBAAAKChMAAAAKCgAAAAAACeEMAAAJKAEAAAkBAAAACeIMAAAB5wgAAFcIAAAKCgoJ4wwAAAoJKQEAAAoKAAAAAAoKAAAAAAAJ5AwAAAkpAQAACQEAAAAJ5QwAAAHoCAAAVwgAAAoKCgnmDAAACgkpAQAACgoBAAAACgoAAAAAAAnnDAAACSkBAAAJAQAAAAnoDAAAAekIAABXCAAACgoKCekMAAAKCSkBAAAKCgIAAAAKCgAAAAAACeoMAAAJKQEAAAkBAAAACesMAAAB6ggAAFcIAAAKCgoJ7AwAAAoJKQEAAAoKAwAAAAoKAAAAAAAJ7QwAAAkpAQAACQEAAAAJ7gwAAAHrCAAAVwgAAAoKCgnvDAAACgkpAQAACgoEAAAACgoAAAAAAAnwDAAACSkBAAAJAQAAAAnxDAAAAewIAABXCAAACfIMAAAJ8wwAAAoJ9AwAAAoJKQEAAAgG4XoUrkfhyj8KBQAAAAn1DAAACfYMAAAAAAAAAAn3DAAACSkBAAAJAQAAAAn4DAAAAe0IAABXCAAACgoKCfkMAAAKCSkBAAAKCgYAAAAKCgAAAAAACfoMAAAJKQEAAAkBAAAACfsMAAAB7ggAAFcIAAAKCgoJ/AwAAAoJKQEAAAoKBwAAAAoKAAAAAAAJ/QwAAAkpAQAACQEAAAAJ/gwAAAHvCAAAVwgAAAoKCgn/DAAACgkpAQAACgoIAAAACgoAAAAAAAkADQAACSkBAAAJAQAAAAkBDQAAAfAIAABXCAAACgoKCQINAAAKCSkBAAAKCgkAAAAKCgAAAAAACQMNAAAJKQEAAAkBAAAACQQNAAAB8QgAAFcIAAAKCgoJBQ0AAAoJKQEAAAoKCgAAAAoKAAAAAAAJBg0AAAkpAQAACQEAAAAJBw0AAAHyCAAAVwgAAAoKCgkIDQAACgkpAQAACgoLAAAACgoAAAAAAAkJDQAACSkBAAAJAQAAAAkKDQAAAfMIAABXCAAACgoKCQsNAAAKCSkBAAAKCgwAAAAKCgAAAAAACQwNAAAJKQEAAAkBAAAACQ0NAAAB9AgAAFcIAAAKCgoJDg0AAAoJKQEAAAoKDQAAAAoKAAAAAAAJDw0AAAkpAQAACQEAAAAJEA0AAAH1CAAAVwgAAAoKCgkRDQAACgkpAQAACgoOAAAACgoAAAAAAAkSDQAACSkBAAAJAQAAAAkTDQAAAfYIAABXCAAACgoKCRQNAAAKCSkBAAAKCg8AAAAKCgAAAAAACRUNAAAJKQEAAAkBAAAACRYNAAAB9wgAAFcIAAAKCgoJFw0AAAoJKQEAAAoKEAAAAAoKAAAAAAAJGA0AAAkpAQAACQEAAAAJGQ0AAAH4CAAAVwgAAAoKCgkaDQAACgkpAQAACgoRAAAACgoAAAAAAAkbDQAACSkBAAAJAQAAAAkcDQAAAfkIAABXCAAACgoKCR0NAAAKCSkBAAAKChIAAAAKCgAAAAAACR4NAAAJKQEAAAkBAAAACR8NAAAB+ggAAFcIAAAKCgoJIA0AAAoJKQEAAAoKEwAAAAoKAAAAAAAJIQ0AAAkpAQAACQEAAAAJIg0AAAH/CAAAVwgAAAoKCgkjDQAACgkqAQAACgoAAAAACgoAAAAAAAkkDQAACSoBAAAJAQAAAAklDQAAAQAJAABXCAAACgoKCSYNAAAKCSoBAAAKCgEAAAAKCgAAAAAACScNAAAJKgEAAAkBAAAACSgNAAABAQkAAFcIAAAKCgoJKQ0AAAoJKgEAAAoKAgAAAAoKAAAAAAAJKg0AAAkqAQAACQEAAAAJKw0AAAECCQAAVwgAAAoKCgksDQAACgkqAQAACgoDAAAACgoAAAAAAAktDQAACSoBAAAJAQAAAAkuDQAAAQMJAABXCAAACgoKCS8NAAAKCSoBAAAKCgQAAAAKCgAAAAAACTANAAAJKgEAAAkBAAAACTENAAABBAkAAFcIAAAKCgoJMg0AAAoJKgEAAAoKBQAAAAoKAAAAAAAJMw0AAAkqAQAACQEAAAAJNA0AAAEFCQAAVwgAAAk1DQAACTYNAAAKCTcNAAAKCSoBAAAIBgrXo3A9Csc/CgYAAAAJOA0AAAk5DQAAAAAAAAAJOg0AAAkqAQAACQEAAAAJOw0AAAEGCQAAVwgAAAoKCgk8DQAACgkqAQAACgoHAAAACgoAAAAAAAk9DQAACSoBAAAJAQAAAAk+DQAAAQcJAABXCAAACgoKCT8NAAAKCSoBAAAKCggAAAAKCgAAAAAACUANAAAJKgEAAAkBAAAACUENAAABCAkAAFcIAAAKCgoJQg0AAAoJKgEAAAoKCQAAAAoKAAAAAAAJQw0AAAkqAQAACQEAAAAJRA0AAAEJCQAAVwgAAAoKCglFDQAACgkqAQAACgoKAAAACgoAAAAAAAlGDQAACSoBAAAJAQAAAAlHDQAAAQoJAABXCAAACgoKCUgNAAAKCSoBAAAKCgsAAAAKCgAAAAAACUkNAAAJKgEAAAkBAAAACUoNAAABCwkAAFcIAAAKCgoJSw0AAAoJKgEAAAoKDAAAAAoKAAAAAAAJTA0AAAkqAQAACQEAAAAJTQ0AAAEMCQAAVwgAAAoKCglODQAACgkqAQAACgoNAAAACgoAAAAAAAlPDQAACSoBAAAJAQAAAAlQDQAAAQ0JAABXCAAACgoKCVENAAAKCSoBAAAKCg4AAAAKCgAAAAAACVINAAAJKgEAAAkBAAAACVMNAAABDgkAAFcIAAAKCgoJVA0AAAoJKgEAAAoKDwAAAAoKAAAAAAAJVQ0AAAkqAQAACQEAAAAJVg0AAAEPCQAAVwgAAAoKCglXDQAACgkqAQAACgoQAAAACgoAAAAAAAlYDQAACSoBAAAJAQAAAAlZDQAAARAJAABXCAAACgoKCVoNAAAKCSoBAAAKChEAAAAKCgAAAAAACVsNAAAJKgEAAAkBAAAACVwNAAABEQkAAFcIAAAKCgoJXQ0AAAoJKgEAAAoKEgAAAAoKAAAAAAAJXg0AAAkqAQAACQEAAAAJXw0AAAESCQAAVwgAAAoKCglgDQAACgkqAQAACgoTAAAACgoAAAAAAAlhDQAACSoBAAAJAQAAAAliDQAAARcJAABXCAAACgoKCWMNAAAKCSsBAAAKCgAAAAAKCgAAAAAACWQNAAAJKwEAAAkBAAAACWUNAAABGAkAAFcIAAAKCgoJZg0AAAoJKwEAAAoKAQAAAAoKAAAAAAAJZw0AAAkrAQAACQEAAAAJaA0AAAEZCQAAVwgAAAoKCglpDQAACgkrAQAACgoCAAAACgoAAAAAAAlqDQAACSsBAAAJAQAAAAlrDQAAARoJAABXCAAACWwNAAAJbQ0AAAoJbg0AAAoJKwEAAAgG7FG4HoXr0T8KAwAAAAlvDQAACXANAAAAAAAAAAlxDQAACSsBAAAJAQAAAAlyDQAAARsJAABXCAAACgoKCXMNAAAKCSsBAAAKCgQAAAAKCgAAAAAACXQNAAAJKwEAAAkBAAAACXUNAAABHAkAAFcIAAAKCgoJdg0AAAoJKwEAAAoKBQAAAAoKAAAAAAAJdw0AAAkrAQAACQEAAAAJeA0AAAEdCQAAVwgAAAoKCgl5DQAACgkrAQAACgoGAAAACgoAAAAAAAl6DQAACSsBAAAJAQAAAAl7DQAAAR4JAABXCAAACgoKCXwNAAAKCSsBAAAKCgcAAAAKCgAAAAAACX0NAAAJKwEAAAkBAAAACX4NAAABHwkAAFcIAAAKCgoJfw0AAAoJKwEAAAoKCAAAAAoKAAAAAAAJgA0AAAkrAQAACQEAAAAJgQ0AAAEgCQAAVwgAAAoKCgmCDQAACgkrAQAACgoJAAAACgoAAAAAAAmDDQAACSsBAAAJAQAAAAmEDQAAASEJAABXCAAACgoKCYUNAAAKCSsBAAAKCgoAAAAKCgAAAAAACYYNAAAJKwEAAAkBAAAACYcNAAABIgkAAFcIAAAKCgoJiA0AAAoJKwEAAAoKCwAAAAoKAAAAAAAJiQ0AAAkrAQAACQEAAAAJig0AAAEjCQAAVwgAAAoKCgmLDQAACgkrAQAACgoMAAAACgoAAAAAAAmMDQAACSsBAAAJAQAAAAmNDQAAASQJAABXCAAACgoKCY4NAAAKCSsBAAAKCg0AAAAKCgAAAAAACY8NAAAJKwEAAAkBAAAACZANAAABJQkAAFcIAAAKCgoJkQ0AAAoJKwEAAAoKDgAAAAoKAAAAAAAJkg0AAAkrAQAACQEAAAAJkw0AAAEmCQAAVwgAAAoKCgmUDQAACgkrAQAACgoPAAAACgoAAAAAAAmVDQAACSsBAAAJAQAAAAmWDQAAAScJAABXCAAACgoKCZcNAAAKCSsBAAAKChAAAAAKCgAAAAAACZgNAAAJKwEAAAkBAAAACZkNAAABKAkAAFcIAAAKCgoJmg0AAAoJKwEAAAoKEQAAAAoKAAAAAAAJmw0AAAkrAQAACQEAAAAJnA0AAAEpCQAAVwgAAAoKCgmdDQAACgkrAQAACgoSAAAACgoAAAAAAAmeDQAACSsBAAAJAQAAAAmfDQAAASoJAABXCAAACgoKCaANAAAKCSsBAAAKChMAAAAKCgAAAAAACaENAAAJKwEAAAkBAAAACaINAAABLwkAAFcIAAAKCgoJow0AAAoJLAEAAAoKAAAAAAoKAAAAAAAJpA0AAAksAQAACQEAAAAJpQ0AAAEwCQAAVwgAAAoKCgmmDQAACgksAQAACgoBAAAACgoAAAAAAAmnDQAACSwBAAAJAQAAAAmoDQAAATEJAABXCAAACgoKCakNAAAKCSwBAAAKCgIAAAAKCgAAAAAACaoNAAAJLAEAAAkBAAAACasNAAABMgkAAFcIAAAKCgoJrA0AAAoJLAEAAAoKAwAAAAoKAAAAAAAJrQ0AAAksAQAACQEAAAAJrg0AAAEzCQAAVwgAAAoKCgmvDQAACgksAQAACgoEAAAACgoAAAAAAAmwDQAACSwBAAAJAQAAAAmxDQAAATQJAABXCAAACgoKCbINAAAKCSwBAAAKCgUAAAAKCgAAAAAACbMNAAAJLAEAAAkBAAAACbQNAAABNQkAAFcIAAAKCgoJtQ0AAAoJLAEAAAoKBgAAAAoKAAAAAAAJtg0AAAksAQAACQEAAAAJtw0AAAE2CQAAVwgAAAoKCgm4DQAACgksAQAACgoHAAAACgoAAAAAAAm5DQAACSwBAAAJAQAAAAm6DQAAATcJAABXCAAACgoKCbsNAAAKCSwBAAAKCggAAAAKCgAAAAAACbwNAAAJLAEAAAkBAAAACb0NAAABOAkAAFcIAAAKCgoJvg0AAAoJLAEAAAoKCQAAAAoKAAAAAAAJvw0AAAksAQAACQEAAAAJwA0AAAE5CQAAVwgAAAoKCgnBDQAACgksAQAACgoKAAAACgoAAAAAAAnCDQAACSwBAAAJAQAAAAnDDQAAAToJAABXCAAACgoKCcQNAAAKCSwBAAAKCgsAAAAKCgAAAAAACcUNAAAJLAEAAAkBAAAACcYNAAABOwkAAFcIAAAKCgoJxw0AAAoJLAEAAAoKDAAAAAoKAAAAAAAJyA0AAAksAQAACQEAAAAJyQ0AAAE8CQAAVwgAAAoKCgnKDQAACgksAQAACgoNAAAACgoAAAAAAAnLDQAACSwBAAAJAQAAAAnMDQAAAT0JAABXCAAACgoKCc0NAAAKCSwBAAAKCg4AAAAKCgAAAAAACc4NAAAJLAEAAAkBAAAACc8NAAABPgkAAFcIAAAJ0A0AAAnRDQAACgnSDQAACgksAQAACAaamZmZmZmpPwoPAAAACdMNAAAJ1A0AAAAAAAAACdUNAAAJLAEAAAkBAAAACdYNAAABPwkAAFcIAAAKCgoJ1w0AAAoJLAEAAAoKEAAAAAoKAAAAAAAJ2A0AAAksAQAACQEAAAAJ2Q0AAAFACQAAVwgAAAoKCgnaDQAACgksAQAACgoRAAAACgoAAAAAAAnbDQAACSwBAAAJAQAAAAncDQAAAUEJAABXCAAACgoKCd0NAAAKCSwBAAAKChIAAAAKCgAAAAAACd4NAAAJLAEAAAkBAAAACd8NAAABQgkAAFcIAAAKCgoJ4A0AAAoJLAEAAAoKEwAAAAoKAAAAAAAJ4Q0AAAksAQAACQEAAAAJ4g0AAAFHCQAAVwgAAAoKCgnjDQAACgktAQAACgoAAAAACgoAAAAAAAnkDQAACS0BAAAJAQAAAAnlDQAAAUgJAABXCAAACgoKCeYNAAAKCS0BAAAKCgEAAAAKCgAAAAAACecNAAAJLQEAAAkBAAAACegNAAABSQkAAFcIAAAKCgoJ6Q0AAAoJLQEAAAoKAgAAAAoKAAAAAAAJ6g0AAAktAQAACQEAAAAJ6w0AAAFKCQAAVwgAAAoKCgnsDQAACgktAQAACgoDAAAACgoAAAAAAAntDQAACS0BAAAJAQAAAAnuDQAAAUsJAABXCAAACgoKCe8NAAAKCS0BAAAKCgQAAAAKCgAAAAAACfANAAAJLQEAAAkBAAAACfENAAABTAkAAFcIAAAKCgoJ8g0AAAoJLQEAAAoKBQAAAAoKAAAAAAAJ8w0AAAktAQAACQEAAAAJ9A0AAAFNCQAAVwgAAAoKCgn1DQAACgktAQAACgoGAAAACgoAAAAAAAn2DQAACS0BAAAJAQAAAAn3DQAAAU4JAABXCAAACgoKCfgNAAAKCS0BAAAKCgcAAAAKCgAAAAAACfkNAAAJLQEAAAkBAAAACfoNAAABTwkAAFcIAAAKCgoJ+w0AAAoJLQEAAAoKCAAAAAoKAAAAAAAJ/A0AAAktAQAACQEAAAAJ/Q0AAAFQCQAAVwgAAAoKCgn+DQAACgktAQAACgoJAAAACgoAAAAAAAn/DQAACS0BAAAJAQAAAAkADgAAAVEJAABXCAAACgoKCQEOAAAKCS0BAAAKCgoAAAAKCgAAAAAACQIOAAAJLQEAAAkBAAAACQMOAAABUgkAAFcIAAAKCgoJBA4AAAoJLQEAAAoKCwAAAAoKAAAAAAAJBQ4AAAktAQAACQEAAAAJBg4AAAFTCQAAVwgAAAkHDgAACQgOAAAKCQkOAAAKCS0BAAAIBuxRuB6F67E/CgwAAAAJCg4AAAkLDgAAAAAAAAAJDA4AAAktAQAACQEAAAAJDQ4AAAFUCQAAVwgAAAoKCgkODgAACgktAQAACgoNAAAACgoAAAAAAAkPDgAACS0BAAAJAQAAAAkQDgAAAVUJAABXCAAACgoKCREOAAAKCS0BAAAKCg4AAAAKCgAAAAAACRIOAAAJLQEAAAkBAAAACRMOAAABVgkAAFcIAAAKCgoJFA4AAAoJLQEAAAoKDwAAAAoKAAAAAAAJFQ4AAAktAQAACQEAAAAJFg4AAAFXCQAAVwgAAAoKCgkXDgAACgktAQAACgoQAAAACgoAAAAAAAkYDgAACS0BAAAJAQAAAAkZDgAAAVgJAABXCAAACgoKCRoOAAAKCS0BAAAKChEAAAAKCgAAAAAACRsOAAAJLQEAAAkBAAAACRwOAAABWQkAAFcIAAAKCgoJHQ4AAAoJLQEAAAoKEgAAAAoKAAAAAAAJHg4AAAktAQAACQEAAAAJHw4AAAFaCQAAVwgAAAoKCgkgDgAACgktAQAACgoTAAAACgoAAAAAAAkhDgAACS0BAAAJAQAAAAkiDgAAAV8JAABXCAAACgoKCSMOAAAKCS4BAAAKCgAAAAAKCgAAAAAACSQOAAAJLgEAAAkBAAAACSUOAAABYAkAAFcIAAAKCgoJJg4AAAoJLgEAAAoKAQAAAAoKAAAAAAAJJw4AAAkuAQAACQEAAAAJKA4AAAFhCQAAVwgAAAoKCgkpDgAACgkuAQAACgoCAAAACgoAAAAAAAkqDgAACS4BAAAJAQAAAAkrDgAAAWIJAABXCAAACgoKCSwOAAAKCS4BAAAKCgMAAAAKCgAAAAAACS0OAAAJLgEAAAkBAAAACS4OAAABYwkAAFcIAAAKCgoJLw4AAAoJLgEAAAoKBAAAAAoKAAAAAAAJMA4AAAkuAQAACQEAAAAJMQ4AAAFkCQAAVwgAAAoKCgkyDgAACgkuAQAACgoFAAAACgoAAAAAAAkzDgAACS4BAAAJAQAAAAk0DgAAAWUJAABXCAAACgoKCTUOAAAKCS4BAAAKCgYAAAAKCgAAAAAACTYOAAAJLgEAAAkBAAAACTcOAAABZgkAAFcIAAAKCgoJOA4AAAoJLgEAAAoKBwAAAAoKAAAAAAAJOQ4AAAkuAQAACQEAAAAJOg4AAAFnCQAAVwgAAAoKCgk7DgAACgkuAQAACgoIAAAACgoAAAAAAAk8DgAACS4BAAAJAQAAAAk9DgAAAWgJAABXCAAACgoKCT4OAAAKCS4BAAAKCgkAAAAKCgAAAAAACT8OAAAJLgEAAAkBAAAACUAOAAABaQkAAFcIAAAKCgoJQQ4AAAoJLgEAAAoKCgAAAAoKAAAAAAAJQg4AAAkuAQAACQEAAAAJQw4AAAFqCQAAVwgAAAoKCglEDgAACgkuAQAACgoLAAAACgoAAAAAAAlFDgAACS4BAAAJAQAAAAlGDgAAAWsJAABXCAAACUcOAAAJSA4AAAoJSQ4AAAoJLgEAAAgGexSuR+F6pD8KDAAAAAlKDgAACUsOAAAAAAAAAAlMDgAACS4BAAAJAQAAAAlNDgAAAWwJAABXCAAACgoKCU4OAAAKCS4BAAAKCg0AAAAKCgAAAAAACU8OAAAJLgEAAAkBAAAACVAOAAABbQkAAFcIAAAKCgoJUQ4AAAoJLgEAAAoKDgAAAAoKAAAAAAAJUg4AAAkuAQAACQEAAAAJUw4AAAFuCQAAVwgAAAoKCglUDgAACgkuAQAACgoPAAAACgoAAAAAAAlVDgAACS4BAAAJAQAAAAlWDgAAAW8JAABXCAAACgoKCVcOAAAKCS4BAAAKChAAAAAKCgAAAAAACVgOAAAJLgEAAAkBAAAACVkOAAABcAkAAFcIAAAKCgoJWg4AAAoJLgEAAAoKEQAAAAoKAAAAAAAJWw4AAAkuAQAACQEAAAAJXA4AAAFxCQAAVwgAAAoKCgldDgAACgkuAQAACgoSAAAACgoAAAAAAAleDgAACS4BAAAJAQAAAAlfDgAAAXIJAABXCAAACgoKCWAOAAAKCS4BAAAKChMAAAAKCgAAAAAACWEOAAAJLgEAAAkBAAAACWIOAAABdwkAAFcIAAAJYw4AAAlkDgAACgllDgAACgkvAQAACAbNzMzMzMzcPwoAAAAACWYOAAAJZw4AAAAAAAAACWgOAAAJLwEAAAkBAAAACWkOAAABeAkAAFcIAAAKCgoJag4AAAoJLwEAAAoKAQAAAAoKAAAAAAAJaw4AAAkvAQAACQEAAAAJbA4AAAF5CQAAVwgAAAoKCgltDgAACgkvAQAACgoCAAAACgoAAAAAAAluDgAACS8BAAAJAQAAAAlvDgAAAXoJAABXCAAACgoKCXAOAAAKCS8BAAAKCgMAAAAKCgAAAAAACXEOAAAJLwEAAAkBAAAACXIOAAABewkAAFcIAAAKCgoJcw4AAAoJLwEAAAoKBAAAAAoKAAAAAAAJdA4AAAkvAQAACQEAAAAJdQ4AAAF8CQAAVwgAAAoKCgl2DgAACgkvAQAACgoFAAAACgoAAAAAAAl3DgAACS8BAAAJAQAAAAl4DgAAAX0JAABXCAAACgoKCXkOAAAKCS8BAAAKCgYAAAAKCgAAAAAACXoOAAAJLwEAAAkBAAAACXsOAAABfgkAAFcIAAAKCgoJfA4AAAoJLwEAAAoKBwAAAAoKAAAAAAAJfQ4AAAkvAQAACQEAAAAJfg4AAAF/CQAAVwgAAAoKCgl/DgAACgkvAQAACgoIAAAACgoAAAAAAAmADgAACS8BAAAJAQAAAAmBDgAAAYAJAABXCAAACgoKCYIOAAAKCS8BAAAKCgkAAAAKCgAAAAAACYMOAAAJLwEAAAkBAAAACYQOAAABgQkAAFcIAAAKCgoJhQ4AAAoJLwEAAAoKCgAAAAoKAAAAAAAJhg4AAAkvAQAACQEAAAAJhw4AAAGCCQAAVwgAAAoKCgmIDgAACgkvAQAACgoLAAAACgoAAAAAAAmJDgAACS8BAAAJAQAAAAmKDgAAAYMJAABXCAAACgoKCYsOAAAKCS8BAAAKCgwAAAAKCgAAAAAACYwOAAAJLwEAAAkBAAAACY0OAAABhAkAAFcIAAAKCgoJjg4AAAoJLwEAAAoKDQAAAAoKAAAAAAAJjw4AAAkvAQAACQEAAAAJkA4AAAGFCQAAVwgAAAoKCgmRDgAACgkvAQAACgoOAAAACgoAAAAAAAmSDgAACS8BAAAJAQAAAAmTDgAAAYYJAABXCAAACgoKCZQOAAAKCS8BAAAKCg8AAAAKCgAAAAAACZUOAAAJLwEAAAkBAAAACZYOAAABhwkAAFcIAAAKCgoJlw4AAAoJLwEAAAoKEAAAAAoKAAAAAAAJmA4AAAkvAQAACQEAAAAJmQ4AAAGICQAAVwgAAAoKCgmaDgAACgkvAQAACgoRAAAACgoAAAAAAAmbDgAACS8BAAAJAQAAAAmcDgAAAYkJAABXCAAACgoKCZ0OAAAKCS8BAAAKChIAAAAKCgAAAAAACZ4OAAAJLwEAAAkBAAAACZ8OAAABigkAAFcIAAAKCgoJoA4AAAoJLwEAAAoKEwAAAAoKAAAAAAAJoQ4AAAkvAQAACQEAAAAJog4AAAGPCQAAVwgAAAmjDgAACaQOAAAKCaUOAAAKCTABAAAIBpqZmZmZmck/CgAAAAAJpg4AAAmnDgAAAAAAAAAJqA4AAAkwAQAACQEAAAAJqQ4AAAGQCQAAVwgAAAoKCgmqDgAACgkwAQAACgoBAAAACgoAAAAAAAmrDgAACTABAAAJAQAAAAmsDgAAAZEJAABXCAAACgoKCa0OAAAKCTABAAAKCgIAAAAKCgAAAAAACa4OAAAJMAEAAAkBAAAACa8OAAABkgkAAFcIAAAKCgoJsA4AAAoJMAEAAAoKAwAAAAoKAAAAAAAJsQ4AAAkwAQAACQEAAAAJsg4AAAGTCQAAVwgAAAoKCgmzDgAACgkwAQAACgoEAAAACgoAAAAAAAm0DgAACTABAAAJAQAAAAm1DgAAAZQJAABXCAAACgoKCbYOAAAKCTABAAAKCgUAAAAKCgAAAAAACbcOAAAJMAEAAAkBAAAACbgOAAABlQkAAFcIAAAKCgoJuQ4AAAoJMAEAAAoKBgAAAAoKAAAAAAAJug4AAAkwAQAACQEAAAAJuw4AAAGWCQAAVwgAAAoKCgm8DgAACgkwAQAACgoHAAAACgoAAAAAAAm9DgAACTABAAAJAQAAAAm+DgAAAZcJAABXCAAACgoKCb8OAAAKCTABAAAKCggAAAAKCgAAAAAACcAOAAAJMAEAAAkBAAAACcEOAAABmAkAAFcIAAAKCgoJwg4AAAoJMAEAAAoKCQAAAAoKAAAAAAAJww4AAAkwAQAACQEAAAAJxA4AAAGZCQAAVwgAAAoKCgnFDgAACgkwAQAACgoKAAAACgoAAAAAAAnGDgAACTABAAAJAQAAAAnHDgAAAZoJAABXCAAACgoKCcgOAAAKCTABAAAKCgsAAAAKCgAAAAAACckOAAAJMAEAAAkBAAAACcoOAAABmwkAAFcIAAAKCgoJyw4AAAoJMAEAAAoKDAAAAAoKAAAAAAAJzA4AAAkwAQAACQEAAAAJzQ4AAAGcCQAAVwgAAAoKCgnODgAACgkwAQAACgoNAAAACgoAAAAAAAnPDgAACTABAAAJAQAAAAnQDgAAAZ0JAABXCAAACgoKCdEOAAAKCTABAAAKCg4AAAAKCgAAAAAACdIOAAAJMAEAAAkBAAAACdMOAAABngkAAFcIAAAKCgoJ1A4AAAoJMAEAAAoKDwAAAAoKAAAAAAAJ1Q4AAAkwAQAACQEAAAAJ1g4AAAGfCQAAVwgAAAoKCgnXDgAACgkwAQAACgoQAAAACgoAAAAAAAnYDgAACTABAAAJAQAAAAnZDgAAAaAJAABXCAAACgoKCdoOAAAKCTABAAAKChEAAAAKCgAAAAAACdsOAAAJMAEAAAkBAAAACdwOAAABoQkAAFcIAAAKCgoJ3Q4AAAoJMAEAAAoKEgAAAAoKAAAAAAAJ3g4AAAkwAQAACQEAAAAJ3w4AAAGiCQAAVwgAAAoKCgngDgAACgkwAQAACgoTAAAACgoAAAAAAAnhDgAACTABAAAJAQAAAAniDgAAAacJAABXCAAACgoKCeMOAAAKCTEBAAAKCgAAAAAKCgAAAAAACeQOAAAJMQEAAAkBAAAACeUOAAABqAkAAFcIAAAKCgoJ5g4AAAoJMQEAAAoKAQAAAAoKAAAAAAAJ5w4AAAkxAQAACQEAAAAJ6A4AAAGpCQAAVwgAAAoKCgnpDgAACgkxAQAACgoCAAAACgoAAAAAAAnqDgAACTEBAAAJAQAAAAnrDgAAAaoJAABXCAAACgoKCewOAAAKCTEBAAAKCgMAAAAKCgAAAAAACe0OAAAJMQEAAAkBAAAACe4OAAABqwkAAFcIAAAKCgoJ7w4AAAoJMQEAAAoKBAAAAAoKAAAAAAAJ8A4AAAkxAQAACQEAAAAJ8Q4AAAGsCQAAVwgAAAoKCgnyDgAACgkxAQAACgoFAAAACgoAAAAAAAnzDgAACTEBAAAJAQAAAAn0DgAAAa0JAABXCAAACgoKCfUOAAAKCTEBAAAKCgYAAAAKCgAAAAAACfYOAAAJMQEAAAkBAAAACfcOAAABrgkAAFcIAAAKCgoJ+A4AAAoJMQEAAAoKBwAAAAoKAAAAAAAJ+Q4AAAkxAQAACQEAAAAJ+g4AAAGvCQAAVwgAAAoKCgn7DgAACgkxAQAACgoIAAAACgoAAAAAAAn8DgAACTEBAAAJAQAAAAn9DgAAAbAJAABXCAAACgoKCf4OAAAKCTEBAAAKCgkAAAAKCgAAAAAACf8OAAAJMQEAAAkBAAAACQAPAAABsQkAAFcIAAAKCgoJAQ8AAAoJMQEAAAoKCgAAAAoKAAAAAAAJAg8AAAkxAQAACQEAAAAJAw8AAAGyCQAAVwgAAAoKCgkEDwAACgkxAQAACgoLAAAACgoAAAAAAAkFDwAACTEBAAAJAQAAAAkGDwAAAbMJAABXCAAACgoKCQcPAAAKCTEBAAAKCgwAAAAKCgAAAAAACQgPAAAJMQEAAAkBAAAACQkPAAABtAkAAFcIAAAKCgoJCg8AAAoJMQEAAAoKDQAAAAoKAAAAAAAJCw8AAAkxAQAACQEAAAAJDA8AAAG1CQAAVwgAAAoKCgkNDwAACgkxAQAACgoOAAAACgoAAAAAAAkODwAACTEBAAAJAQAAAAkPDwAAAbYJAABXCAAACgoKCRAPAAAKCTEBAAAKCg8AAAAKCgAAAAAACREPAAAJMQEAAAkBAAAACRIPAAABtwkAAFcIAAAJEw8AAAkUDwAACgkVDwAACgkxAQAACAZ7FK5H4XqkPwoQAAAACRYPAAAJFw8AAAAAAAAACRgPAAAJMQEAAAkBAAAACRkPAAABuAkAAFcIAAAKCgoJGg8AAAoJMQEAAAoKEQAAAAoKAAAAAAAJGw8AAAkxAQAACQEAAAAJHA8AAAG5CQAAVwgAAAoKCgkdDwAACgkxAQAACgoSAAAACgoAAAAAAAkeDwAACTEBAAAJAQAAAAkfDwAAAboJAABXCAAACgoKCSAPAAAKCTEBAAAKChMAAAAKCgAAAAAACSEPAAAJMQEAAAkBAAAACSIPAAABvwkAAFcIAAAKCgoJIw8AAAoJMgEAAAoKAAAAAAoKAAAAAAAJJA8AAAkyAQAACQEAAAAJJQ8AAAHACQAAVwgAAAoKCgkmDwAACgkyAQAACgoBAAAACgoAAAAAAAknDwAACTIBAAAJAQAAAAkoDwAAAcEJAABXCAAACgoKCSkPAAAKCTIBAAAKCgIAAAAKCgAAAAAACSoPAAAJMgEAAAkBAAAACSsPAAABwgkAAFcIAAAKCgoJLA8AAAoJMgEAAAoKAwAAAAoKAAAAAAAJLQ8AAAkyAQAACQEAAAAJLg8AAAHDCQAAVwgAAAoKCgkvDwAACgkyAQAACgoEAAAACgoAAAAAAAkwDwAACTIBAAAJAQAAAAkxDwAAAcQJAABXCAAACgoKCTIPAAAKCTIBAAAKCgUAAAAKCgAAAAAACTMPAAAJMgEAAAkBAAAACTQPAAABxQkAAFcIAAAKCgoJNQ8AAAoJMgEAAAoKBgAAAAoKAAAAAAAJNg8AAAkyAQAACQEAAAAJNw8AAAHGCQAAVwgAAAoKCgk4DwAACgkyAQAACgoHAAAACgoAAAAAAAk5DwAACTIBAAAJAQAAAAk6DwAAAccJAABXCAAACgoKCTsPAAAKCTIBAAAKCggAAAAKCgAAAAAACTwPAAAJMgEAAAkBAAAACT0PAAAByAkAAFcIAAAKCgoJPg8AAAoJMgEAAAoKCQAAAAoKAAAAAAAJPw8AAAkyAQAACQEAAAAJQA8AAAHJCQAAVwgAAAoKCglBDwAACgkyAQAACgoKAAAACgoAAAAAAAlCDwAACTIBAAAJAQAAAAlDDwAAAcoJAABXCAAACgoKCUQPAAAKCTIBAAAKCgsAAAAKCgAAAAAACUUPAAAJMgEAAAkBAAAACUYPAAABywkAAFcIAAAKCgoJRw8AAAoJMgEAAAoKDAAAAAoKAAAAAAAJSA8AAAkyAQAACQEAAAAJSQ8AAAHMCQAAVwgAAAlKDwAACUsPAAAKCUwPAAAKCTIBAAAIBpqZmZmZmbk/Cg0AAAAJTQ8AAAlODwAAAAAAAAAJTw8AAAkyAQAACQEAAAAJUA8AAAHNCQAAVwgAAAoKCglRDwAACgkyAQAACgoOAAAACgoAAAAAAAlSDwAACTIBAAAJAQAAAAlTDwAAAc4JAABXCAAACgoKCVQPAAAKCTIBAAAKCg8AAAAKCgAAAAAACVUPAAAJMgEAAAkBAAAACVYPAAABzwkAAFcIAAAKCgoJVw8AAAoJMgEAAAoKEAAAAAoKAAAAAAAJWA8AAAkyAQAACQEAAAAJWQ8AAAHQCQAAVwgAAAoKCglaDwAACgkyAQAACgoRAAAACgoAAAAAAAlbDwAACTIBAAAJAQAAAAlcDwAAAdEJAABXCAAACgoKCV0PAAAKCTIBAAAKChIAAAAKCgAAAAAACV4PAAAJMgEAAAkBAAAACV8PAAAB0gkAAFcIAAAKCgoJYA8AAAoJMgEAAAoKEwAAAAoKAAAAAAAJYQ8AAAkyAQAACQEAAAAJYg8AAAHXCQAAVwgAAAoKCgljDwAACgkzAQAACgoAAAAACgoAAAAAAAlkDwAACTMBAAAJAQAAAAllDwAAAdgJAABXCAAACgoKCWYPAAAKCTMBAAAKCgEAAAAKCgAAAAAACWcPAAAJMwEAAAkBAAAACWgPAAAB2QkAAFcIAAAKCgoJaQ8AAAoJMwEAAAoKAgAAAAoKAAAAAAAJag8AAAkzAQAACQEAAAAJaw8AAAHaCQAAVwgAAAoKCglsDwAACgkzAQAACgoDAAAACgoAAAAAAAltDwAACTMBAAAJAQAAAAluDwAAAdsJAABXCAAACW8PAAAJcA8AAAoJcQ8AAAoJMwEAAAgG7FG4HoXr0T8KBAAAAAlyDwAACXMPAAAAAAAAAAl0DwAACTMBAAAJAQAAAAl1DwAAAdwJAABXCAAACgoKCXYPAAAKCTMBAAAKCgUAAAAKCgAAAAAACXcPAAAJMwEAAAkBAAAACXgPAAAB3QkAAFcIAAAKCgoJeQ8AAAoJMwEAAAoKBgAAAAoKAAAAAAAJeg8AAAkzAQAACQEAAAAJew8AAAHeCQAAVwgAAAoKCgl8DwAACgkzAQAACgoHAAAACgoAAAAAAAl9DwAACTMBAAAJAQAAAAl+DwAAAd8JAABXCAAACgoKCX8PAAAKCTMBAAAKCggAAAAKCgAAAAAACYAPAAAJMwEAAAkBAAAACYEPAAAB4AkAAFcIAAAKCgoJgg8AAAoJMwEAAAoKCQAAAAoKAAAAAAAJgw8AAAkzAQAACQEAAAAJhA8AAAHhCQAAVwgAAAoKCgmFDwAACgkzAQAACgoKAAAACgoAAAAAAAmGDwAACTMBAAAJAQAAAAmHDwAAAeIJAABXCAAACgoKCYgPAAAKCTMBAAAKCgsAAAAKCgAAAAAACYkPAAAJMwEAAAkBAAAACYoPAAAB4wkAAFcIAAAKCgoJiw8AAAoJMwEAAAoKDAAAAAoKAAAAAAAJjA8AAAkzAQAACQEAAAAJjQ8AAAHkCQAAVwgAAAoKCgmODwAACgkzAQAACgoNAAAACgoAAAAAAAmPDwAACTMBAAAJAQAAAAmQDwAAAeUJAABXCAAACgoKCZEPAAAKCTMBAAAKCg4AAAAKCgAAAAAACZIPAAAJMwEAAAkBAAAACZMPAAAB5gkAAFcIAAAKCgoJlA8AAAoJMwEAAAoKDwAAAAoKAAAAAAAJlQ8AAAkzAQAACQEAAAAJlg8AAAHnCQAAVwgAAAoKCgmXDwAACgkzAQAACgoQAAAACgoAAAAAAAmYDwAACTMBAAAJAQAAAAmZDwAAAegJAABXCAAACgoKCZoPAAAKCTMBAAAKChEAAAAKCgAAAAAACZsPAAAJMwEAAAkBAAAACZwPAAAB6QkAAFcIAAAKCgoJnQ8AAAoJMwEAAAoKEgAAAAoKAAAAAAAJng8AAAkzAQAACQEAAAAJnw8AAAHqCQAAVwgAAAoKCgmgDwAACgkzAQAACgoTAAAACgoAAAAAAAmhDwAACTMBAAAJAQAAAAmiDwAAAe8JAABXCAAACgoKCaMPAAAKCTQBAAAKCgAAAAAKCgAAAAAACaQPAAAJNAEAAAkBAAAACaUPAAAB8AkAAFcIAAAKCgoJpg8AAAoJNAEAAAoKAQAAAAoKAAAAAAAJpw8AAAk0AQAACQEAAAAJqA8AAAHxCQAAVwgAAAoKCgmpDwAACgk0AQAACgoCAAAACgoAAAAAAAmqDwAACTQBAAAJAQAAAAmrDwAAAfIJAABXCAAACgoKCawPAAAKCTQBAAAKCgMAAAAKCgAAAAAACa0PAAAJNAEAAAkBAAAACa4PAAAB8wkAAFcIAAAKCgoJrw8AAAoJNAEAAAoKBAAAAAoKAAAAAAAJsA8AAAk0AQAACQEAAAAJsQ8AAAH0CQAAVwgAAAoKCgmyDwAACgk0AQAACgoFAAAACgoAAAAAAAmzDwAACTQBAAAJAQAAAAm0DwAAAfUJAABXCAAACgoKCbUPAAAKCTQBAAAKCgYAAAAKCgAAAAAACbYPAAAJNAEAAAkBAAAACbcPAAAB9gkAAFcIAAAKCgoJuA8AAAoJNAEAAAoKBwAAAAoKAAAAAAAJuQ8AAAk0AQAACQEAAAAJug8AAAH3CQAAVwgAAAm7DwAACbwPAAAKCb0PAAAKCTQBAAAIBuxRuB6F68E/CggAAAAJvg8AAAm/DwAAAAAAAAAJwA8AAAk0AQAACQEAAAAJwQ8AAAH4CQAAVwgAAAoKCgnCDwAACgk0AQAACgoJAAAACgoAAAAAAAnDDwAACTQBAAAJAQAAAAnEDwAAAfkJAABXCAAACgoKCcUPAAAKCTQBAAAKCgoAAAAKCgAAAAAACcYPAAAJNAEAAAkBAAAACccPAAAB+gkAAFcIAAAKCgoJyA8AAAoJNAEAAAoKCwAAAAoKAAAAAAAJyQ8AAAk0AQAACQEAAAAJyg8AAAH7CQAAVwgAAAoKCgnLDwAACgk0AQAACgoMAAAACgoAAAAAAAnMDwAACTQBAAAJAQAAAAnNDwAAAfwJAABXCAAACgoKCc4PAAAKCTQBAAAKCg0AAAAKCgAAAAAACc8PAAAJNAEAAAkBAAAACdAPAAAB/QkAAFcIAAAKCgoJ0Q8AAAoJNAEAAAoKDgAAAAoKAAAAAAAJ0g8AAAk0AQAACQEAAAAJ0w8AAAH+CQAAVwgAAAoKCgnUDwAACgk0AQAACgoPAAAACgoAAAAAAAnVDwAACTQBAAAJAQAAAAnWDwAAAf8JAABXCAAACgoKCdcPAAAKCTQBAAAKChAAAAAKCgAAAAAACdgPAAAJNAEAAAkBAAAACdkPAAABAAoAAFcIAAAKCgoJ2g8AAAoJNAEAAAoKEQAAAAoKAAAAAAAJ2w8AAAk0AQAACQEAAAAJ3A8AAAEBCgAAVwgAAAoKCgndDwAACgk0AQAACgoSAAAACgoAAAAAAAneDwAACTQBAAAJAQAAAAnfDwAAAQIKAABXCAAACgoKCeAPAAAKCTQBAAAKChMAAAAKCgAAAAAACeEPAAAJNAEAAAkBAAAACeIPAAABBwoAAFcIAAAKCgoJ4w8AAAoJNQEAAAoKAAAAAAoKAAAAAAAJ5A8AAAk1AQAACQEAAAAJ5Q8AAAEICgAAVwgAAAoKCgnmDwAACgk1AQAACgoBAAAACgoAAAAAAAnnDwAACTUBAAAJAQAAAAnoDwAAAQkKAABXCAAACgoKCekPAAAKCTUBAAAKCgIAAAAKCgAAAAAACeoPAAAJNQEAAAkBAAAACesPAAABCgoAAFcIAAAKCgoJ7A8AAAoJNQEAAAoKAwAAAAoKAAAAAAAJ7Q8AAAk1AQAACQEAAAAJ7g8AAAELCgAAVwgAAAoKCgnvDwAACgk1AQAACgoEAAAACgoAAAAAAAnwDwAACTUBAAAJAQAAAAnxDwAAAQwKAABXCAAACgoKCfIPAAAKCTUBAAAKCgUAAAAKCgAAAAAACfMPAAAJNQEAAAkBAAAACfQPAAABDQoAAFcIAAAKCgoJ9Q8AAAoJNQEAAAoKBgAAAAoKAAAAAAAJ9g8AAAk1AQAACQEAAAAJ9w8AAAEOCgAAVwgAAAn4DwAACfkPAAAKCfoPAAAKCTUBAAAIBgrXo3A9Crc/CgcAAAAJ+w8AAAn8DwAAAAAAAAAJ/Q8AAAk1AQAACQEAAAAJ/g8AAAEPCgAAVwgAAAoKCgn/DwAACgk1AQAACgoIAAAACgoAAAAAAAkAEAAACTUBAAAJAQAAAAkBEAAAARAKAABXCAAACgoKCQIQAAAKCTUBAAAKCgkAAAAKCgAAAAAACQMQAAAJNQEAAAkBAAAACQQQAAABEQoAAFcIAAAKCgoJBRAAAAoJNQEAAAoKCgAAAAoKAAAAAAAJBhAAAAk1AQAACQEAAAAJBxAAAAESCgAAVwgAAAoKCgkIEAAACgk1AQAACgoLAAAACgoAAAAAAAkJEAAACTUBAAAJAQAAAAkKEAAAARMKAABXCAAACgoKCQsQAAAKCTUBAAAKCgwAAAAKCgAAAAAACQwQAAAJNQEAAAkBAAAACQ0QAAABFAoAAFcIAAAKCgoJDhAAAAoJNQEAAAoKDQAAAAoKAAAAAAAJDxAAAAk1AQAACQEAAAAJEBAAAAEVCgAAVwgAAAoKCgkREAAACgk1AQAACgoOAAAACgoAAAAAAAkSEAAACTUBAAAJAQAAAAkTEAAAARYKAABXCAAACgoKCRQQAAAKCTUBAAAKCg8AAAAKCgAAAAAACRUQAAAJNQEAAAkBAAAACRYQAAABFwoAAFcIAAAKCgoJFxAAAAoJNQEAAAoKEAAAAAoKAAAAAAAJGBAAAAk1AQAACQEAAAAJGRAAAAEYCgAAVwgAAAoKCgkaEAAACgk1AQAACgoRAAAACgoAAAAAAAkbEAAACTUBAAAJAQAAAAkcEAAAARkKAABXCAAACgoKCR0QAAAKCTUBAAAKChIAAAAKCgAAAAAACR4QAAAJNQEAAAkBAAAACR8QAAABGgoAAFcIAAAKCgoJIBAAAAoJNQEAAAoKEwAAAAoKAAAAAAAJIRAAAAk1AQAACQEAAAAJIhAAAAEfCgAAVwgAAAoKCgkjEAAACgk2AQAACgoAAAAACgoAAAAAAAkkEAAACTYBAAAJAQAAAAklEAAAASAKAABXCAAACgoKCSYQAAAKCTYBAAAKCgEAAAAKCgAAAAAACScQAAAJNgEAAAkBAAAACSgQAAABIQoAAFcIAAAKCgoJKRAAAAoJNgEAAAoKAgAAAAoKAAAAAAAJKhAAAAk2AQAACQEAAAAJKxAAAAEiCgAAVwgAAAoKCgksEAAACgk2AQAACgoDAAAACgoAAAAAAAktEAAACTYBAAAJAQAAAAkuEAAAASMKAABXCAAACgoKCS8QAAAKCTYBAAAKCgQAAAAKCgAAAAAACTAQAAAJNgEAAAkBAAAACTEQAAABJAoAAFcIAAAKCgoJMhAAAAoJNgEAAAoKBQAAAAoKAAAAAAAJMxAAAAk2AQAACQEAAAAJNBAAAAElCgAAVwgAAAoKCgk1EAAACgk2AQAACgoGAAAACgoAAAAAAAk2EAAACTYBAAAJAQAAAAk3EAAAASYKAABXCAAACTgQAAAJORAAAAoJOhAAAAoJNgEAAAgGexSuR+F6tD8KBwAAAAk7EAAACTwQAAAAAAAAAAk9EAAACTYBAAAJAQAAAAk+EAAAAScKAABXCAAACgoKCT8QAAAKCTYBAAAKCggAAAAKCgAAAAAACUAQAAAJNgEAAAkBAAAACUEQAAABKAoAAFcIAAAKCgoJQhAAAAoJNgEAAAoKCQAAAAoKAAAAAAAJQxAAAAk2AQAACQEAAAAJRBAAAAEpCgAAVwgAAAoKCglFEAAACgk2AQAACgoKAAAACgoAAAAAAAlGEAAACTYBAAAJAQAAAAlHEAAAASoKAABXCAAACgoKCUgQAAAKCTYBAAAKCgsAAAAKCgAAAAAACUkQAAAJNgEAAAkBAAAACUoQAAABKwoAAFcIAAAKCgoJSxAAAAoJNgEAAAoKDAAAAAoKAAAAAAAJTBAAAAk2AQAACQEAAAAJTRAAAAEsCgAAVwgAAAoKCglOEAAACgk2AQAACgoNAAAACgoAAAAAAAlPEAAACTYBAAAJAQAAAAlQEAAAAS0KAABXCAAACgoKCVEQAAAKCTYBAAAKCg4AAAAKCgAAAAAACVIQAAAJNgEAAAkBAAAACVMQAAABLgoAAFcIAAAKCgoJVBAAAAoJNgEAAAoKDwAAAAoKAAAAAAAJVRAAAAk2AQAACQEAAAAJVhAAAAEvCgAAVwgAAAoKCglXEAAACgk2AQAACgoQAAAACgoAAAAAAAlYEAAACTYBAAAJAQAAAAlZEAAAATAKAABXCAAACgoKCVoQAAAKCTYBAAAKChEAAAAKCgAAAAAACVsQAAAJNgEAAAkBAAAACVwQAAABMQoAAFcIAAAKCgoJXRAAAAoJNgEAAAoKEgAAAAoKAAAAAAAJXhAAAAk2AQAACQEAAAAJXxAAAAEyCgAAVwgAAAoKCglgEAAACgk2AQAACgoTAAAACgoAAAAAAAlhEAAACTYBAAAJAQAAAAliEAAAATcKAABXCAAACgoKCWMQAAAKCTcBAAAKCgAAAAAKCgAAAAAACWQQAAAJNwEAAAkBAAAACWUQAAABOAoAAFcIAAAKCgoJZhAAAAoJNwEAAAoKAQAAAAoKAAAAAAAJZxAAAAk3AQAACQEAAAAJaBAAAAE5CgAAVwgAAAoKCglpEAAACgk3AQAACgoCAAAACgoAAAAAAAlqEAAACTcBAAAJAQAAAAlrEAAAAToKAABXCAAACgoKCWwQAAAKCTcBAAAKCgMAAAAKCgAAAAAACW0QAAAJNwEAAAkBAAAACW4QAAABOwoAAFcIAAAKCgoJbxAAAAoJNwEAAAoKBAAAAAoKAAAAAAAJcBAAAAk3AQAACQEAAAAJcRAAAAE8CgAAVwgAAAoKCglyEAAACgk3AQAACgoFAAAACgoAAAAAAAlzEAAACTcBAAAJAQAAAAl0EAAAAT0KAABXCAAACgoKCXUQAAAKCTcBAAAKCgYAAAAKCgAAAAAACXYQAAAJNwEAAAkBAAAACXcQAAABPgoAAFcIAAAKCgoJeBAAAAoJNwEAAAoKBwAAAAoKAAAAAAAJeRAAAAk3AQAACQEAAAAJehAAAAE/CgAAVwgAAAoKCgl7EAAACgk3AQAACgoIAAAACgoAAAAAAAl8EAAACTcBAAAJAQAAAAl9EAAAAUAKAABXCAAACgoKCX4QAAAKCTcBAAAKCgkAAAAKCgAAAAAACX8QAAAJNwEAAAkBAAAACYAQAAABQQoAAFcIAAAJgRAAAAmCEAAACgmDEAAACgk3AQAACAakcD0K16PAPwoKAAAACYQQAAAJhRAAAAAAAAAACYYQAAAJNwEAAAkBAAAACYcQAAABQgoAAFcIAAAKCgoJiBAAAAoJNwEAAAoKCwAAAAoKAAAAAAAJiRAAAAk3AQAACQEAAAAJihAAAAFDCgAAVwgAAAoKCgmLEAAACgk3AQAACgoMAAAACgoAAAAAAAmMEAAACTcBAAAJAQAAAAmNEAAAAUQKAABXCAAACgoKCY4QAAAKCTcBAAAKCg0AAAAKCgAAAAAACY8QAAAJNwEAAAkBAAAACZAQAAABRQoAAFcIAAAKCgoJkRAAAAoJNwEAAAoKDgAAAAoKAAAAAAAJkhAAAAk3AQAACQEAAAAJkxAAAAFGCgAAVwgAAAoKCgmUEAAACgk3AQAACgoPAAAACgoAAAAAAAmVEAAACTcBAAAJAQAAAAmWEAAAAUcKAABXCAAACgoKCZcQAAAKCTcBAAAKChAAAAAKCgAAAAAACZgQAAAJNwEAAAkBAAAACZkQAAABSAoAAFcIAAAKCgoJmhAAAAoJNwEAAAoKEQAAAAoKAAAAAAAJmxAAAAk3AQAACQEAAAAJnBAAAAFJCgAAVwgAAAoKCgmdEAAACgk3AQAACgoSAAAACgoAAAAAAAmeEAAACTcBAAAJAQAAAAmfEAAAAUoKAABXCAAACgoKCaAQAAAKCTcBAAAKChMAAAAKCgAAAAAACaEQAAAJNwEAAAkBAAAACaIQAAABTwoAAFcIAAAKCgoJoxAAAAoJOAEAAAoKAAAAAAoKAAAAAAAJpBAAAAk4AQAACQEAAAAJpRAAAAFQCgAAVwgAAAoKCgmmEAAACgk4AQAACgoBAAAACgoAAAAAAAmnEAAACTgBAAAJAQAAAAmoEAAAAVEKAABXCAAACakQAAAJqhAAAAoJqxAAAAoJOAEAAAgGj8L1KFyP0j8KAgAAAAmsEAAACa0QAAAAAAAAAAmuEAAACTgBAAAJAQAAAAmvEAAAAVIKAABXCAAACgoKCbAQAAAKCTgBAAAKCgMAAAAKCgAAAAAACbEQAAAJOAEAAAkBAAAACbIQAAABUwoAAFcIAAAKCgoJsxAAAAoJOAEAAAoKBAAAAAoKAAAAAAAJtBAAAAk4AQAACQEAAAAJtRAAAAFUCgAAVwgAAAoKCgm2EAAACgk4AQAACgoFAAAACgoAAAAAAAm3EAAACTgBAAAJAQAAAAm4EAAAAVUKAABXCAAACgoKCbkQAAAKCTgBAAAKCgYAAAAKCgAAAAAACboQAAAJOAEAAAkBAAAACbsQAAABVgoAAFcIAAAKCgoJvBAAAAoJOAEAAAoKBwAAAAoKAAAAAAAJvRAAAAk4AQAACQEAAAAJvhAAAAFXCgAAVwgAAAoKCgm/EAAACgk4AQAACgoIAAAACgoAAAAAAAnAEAAACTgBAAAJAQAAAAnBEAAAAVgKAABXCAAACgoKCcIQAAAKCTgBAAAKCgkAAAAKCgAAAAAACcMQAAAJOAEAAAkBAAAACcQQAAABWQoAAFcIAAAKCgoJxRAAAAoJOAEAAAoKCgAAAAoKAAAAAAAJxhAAAAk4AQAACQEAAAAJxxAAAAFaCgAAVwgAAAoKCgnIEAAACgk4AQAACgoLAAAACgoAAAAAAAnJEAAACTgBAAAJAQAAAAnKEAAAAVsKAABXCAAACgoKCcsQAAAKCTgBAAAKCgwAAAAKCgAAAAAACcwQAAAJOAEAAAkBAAAACc0QAAABXAoAAFcIAAAKCgoJzhAAAAoJOAEAAAoKDQAAAAoKAAAAAAAJzxAAAAk4AQAACQEAAAAJ0BAAAAFdCgAAVwgAAAoKCgnREAAACgk4AQAACgoOAAAACgoAAAAAAAnSEAAACTgBAAAJAQAAAAnTEAAAAV4KAABXCAAACgoKCdQQAAAKCTgBAAAKCg8AAAAKCgAAAAAACdUQAAAJOAEAAAkBAAAACdYQAAABXwoAAFcIAAAKCgoJ1xAAAAoJOAEAAAoKEAAAAAoKAAAAAAAJ2BAAAAk4AQAACQEAAAAJ2RAAAAFgCgAAVwgAAAoKCgnaEAAACgk4AQAACgoRAAAACgoAAAAAAAnbEAAACTgBAAAJAQAAAAncEAAAAWEKAABXCAAACgoKCd0QAAAKCTgBAAAKChIAAAAKCgAAAAAACd4QAAAJOAEAAAkBAAAACd8QAAABYgoAAFcIAAAKCgoJ4BAAAAoJOAEAAAoKEwAAAAoKAAAAAAAJ4RAAAAk4AQAACQEAAAAJ4hAAAAFnCgAAVwgAAAnjEAAACeQQAAAKCeUQAAAKCTkBAAAIBmZmZmZmZtY/CgAAAAAJ5hAAAAnnEAAAAAAAAAAJ6BAAAAk5AQAACQEAAAAJ6RAAAAFoCgAAVwgAAAnqEAAACesQAAAKCewQAAAKCTkBAAAIBs3MzMzMzOQ/CgEAAAAJ7RAAAAnuEAAAAAAAAAAJ7xAAAAk5AQAACQEAAAAJ8BAAAAFpCgAAVwgAAAnxEAAACfIQAAAKCfMQAAAKCTkBAAAIBrgehetRuOY/CgIAAAAJ9BAAAAn1EAAAAAAAAAAJ9hAAAAk5AQAACQEAAAAJ9xAAAAFqCgAAVwgAAAn4EAAACfkQAAAKCfoQAAAKCTkBAAAIBgrXo3A9Cuc/CgMAAAAJ+xAAAAn8EAAAAAAAAAAJ/RAAAAk5AQAACQEAAAAJ/hAAAAFrCgAAVwgAAAn/EAAACQARAAAKCQERAAAKCTkBAAAIBgrXo3A9Cuc/CgQAAAAJAhEAAAkDEQAAAAAAAAAJBBEAAAk5AQAACQEAAAAJBREAAAFsCgAAVwgAAAkGEQAACQcRAAAKCQgRAAAKCTkBAAAIBkjhehSuR+k/CgUAAAAJCREAAAkKEQAAAAAAAAAJCxEAAAk5AQAACQEAAAAJDBEAAAFtCgAAVwgAAAkNEQAACQ4RAAAKCQ8RAAAKCTkBAAAIBj4K16NwPeo/CgYAAAAJEBEAAAkREQAAAAAAAAAJEhEAAAk5AQAACQEAAAAJExEAAAFuCgAAVwgAAAkUEQAACRURAAAKCRYRAAAKCTkBAAAIBpDC9Shcj+o/CgcAAAAJFxEAAAkYEQAAAAAAAAAJGREAAAk5AQAACQEAAAAJGhEAAAFvCgAAVwgAAAkbEQAACRwRAAAKCR0RAAAKCTkBAAAIBoXrUbgehes/CggAAAAJHhEAAAkfEQAAAAAAAAAJIBEAAAk5AQAACQEAAAAJIREAAAFwCgAAVwgAAAkiEQAACSMRAAAKCSQRAAAKCTkBAAAIBtejcD0K1+s/CgkAAAAJJREAAAkmEQAAAAAAAAAJJxEAAAk5AQAACQEAAAAJKBEAAAFxCgAAVwgAAAkpEQAACSoRAAAKCSsRAAAKCTkBAAAIBtejcD0K1+s/CgoAAAAJLBEAAAktEQAAAAAAAAAJLhEAAAk5AQAACQEAAAAJLxEAAAFyCgAAVwgAAAkwEQAACTERAAAKCTIRAAAKCTkBAAAIBilcj8L1KOw/CgsAAAAJMxEAAAk0EQAAAAAAAAAJNREAAAk5AQAACQEAAAAJNhEAAAFzCgAAVwgAAAk3EQAACTgRAAAKCTkRAAAKCTkBAAAIBnsUrkfheuw/CgwAAAAJOhEAAAk7EQAAAAAAAAAJPBEAAAk5AQAACQEAAAAJPREAAAF0CgAAVwgAAAk+EQAACT8RAAAKCUARAAAKCTkBAAAIBs3MzMzMzOw/Cg0AAAAJQREAAAlCEQAAAAAAAAAJQxEAAAk5AQAACQEAAAAJRBEAAAF1CgAAVwgAAAlFEQAACUYRAAAKCUcRAAAKCTkBAAAIBsL1KFyPwu0/Cg4AAAAJSBEAAAlJEQAAAAAAAAAJShEAAAk5AQAACQEAAAAJSxEAAAF2CgAAVwgAAAlMEQAACU0RAAAKCU4RAAAKCTkBAAAIBmZmZmZmZu4/Cg8AAAAJTxEAAAlQEQAAAAAAAAAJUREAAAk5AQAACQEAAAAJUhEAAAF3CgAAVwgAAAlTEQAACVQRAAAKCVURAAAKCTkBAAAIBrgehetRuO4/ChAAAAAJVhEAAAlXEQAAAAAAAAAJWBEAAAk5AQAACQEAAAAJWREAAAF4CgAAVwgAAAlaEQAACVsRAAAKCVwRAAAKCTkBAAAIBrgehetRuO4/ChEAAAAJXREAAAleEQAAAAAAAAAJXxEAAAk5AQAACQEAAAAJYBEAAAF5CgAAVwgAAAlhEQAACWIRAAAKCWMRAAAKCTkBAAAIBgAAAAAAAPA/ChIAAAAJZBEAAAllEQAAAAAAAAAJZhEAAAk5AQAACQEAAAAJZxEAAAF6CgAAVwgAAAloEQAACWkRAAAKCWoRAAAKCTkBAAAIBgAAAAAAAPA/ChMAAAAJaxEAAAlsEQAAAAAAAAAJbREAAAk5AQAACQEAAAAJbhEAAAWDCgAAH0FwbG9yaXMuQ2hhcnQuQW5ub3RhdGlvbkVsZW1lbnQIAAAABm1MYWJlbAZtVmFsdWULbUdyb3VwSW5kZXgLbURhdGFTZXJpZXMYRGF0YU9iamVjdCttQ2hpbGRPYmplY3RzEkRhdGFPYmplY3QrbVBhcmVudBVEYXRhT2JqZWN0K21Db250YWluZXIZRGF0YU9iamVjdCttVmlzdWFsT2JqZWN0cwQCAAQDBAQDFUFwbG9yaXMuQmFzZS5VSS5MYWJlbAMAAAAIIkFwbG9yaXMuQ2hhcnQuQW5ub3RhdGlvbkRhdGFTZXJpZXMCAAAAmAFTeXN0ZW0uQ29sbGVjdGlvbnMuR2VuZXJpYy5MaXN0YDFbW0FwbG9yaXMuQmFzZS5PYmplY3RzLkRhdGFPYmplY3QsIEFwbG9yaXMuQmFzZSwgVmVyc2lvbj00LjEuMC4xNjQ0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EuMC4xNjQ0LCBDdWx0dXJlPW5ldXRyYWwsIFB1YmxpY0tleVRva2VuPTE2ZmMxM2EyMjZjMGU5NTFdXQIAAAAJbxEAAAZwEQAAAycxNAAAAAAJOgEAAAlxEQAACToBAAAJAQAAAAlyEQAAAYQKAACDCgAACXMRAAAGdBEAAAMnMTYBAAAACToBAAAJdREAAAk6AQAACQEAAAAJdhEAAAGFCgAAgwoAAAl3EQAABngRAAADJzE1AgAAAAk6AQAACXkRAAAJOgEAAAkBAAAACXoRAAABhgoAAIMKAAAJexEAAAZ8EQAAAycxNQMAAAAJOgEAAAl9EQAACToBAAAJAQAAAAl+EQAAAYcKAACDCgAACX8RAAAGgBEAAAMnMTUEAAAACToBAAAJgREAAAk6AQAACQEAAAAJghEAAAGICgAAgwoAAAmDEQAABoQRAAADJzE1BQAAAAk6AQAACYURAAAJOgEAAAkBAAAACYYRAAABiQoAAIMKAAAJhxEAAAmEEQAABgAAAAk6AQAACYgRAAAJOgEAAAkBAAAACYkRAAABigoAAIMKAAAJihEAAAaLEQAAAycxNgcAAAAJOgEAAAmMEQAACToBAAAJAQAAAAmNEQAAAYsKAACDCgAACY4RAAAGjxEAAAMnMTIIAAAACToBAAAJkBEAAAk6AQAACQEAAAAJkREAAAGMCgAAgwoAAAmSEQAABpMRAAADJzE1CQAAAAk6AQAACZQRAAAJOgEAAAkBAAAACZURAAABjQoAAIMKAAAJlhEAAAlwEQAACgAAAAk6AQAACZcRAAAJOgEAAAkBAAAACZgRAAABjgoAAIMKAAAJmREAAAlwEQAACwAAAAk6AQAACZoRAAAJOgEAAAkBAAAACZsRAAABjwoAAIMKAAAJnBEAAAadEQAAAycxNQwAAAAJOgEAAAmeEQAACToBAAAJAQAAAAmfEQAAAZAKAACDCgAACaARAAAJjxEAAA0AAAAJOgEAAAmhEQAACToBAAAJAQAAAAmiEQAAAZEKAACDCgAACaMRAAAGpBEAAAMnMTMOAAAACToBAAAJpREAAAk6AQAACQEAAAAJphEAAAGSCgAAgwoAAAmnEQAACaQRAAAPAAAACToBAAAJqBEAAAk6AQAACQEAAAAJqREAAAGTCgAAgwoAAAmqEQAACaQRAAAQAAAACToBAAAJqxEAAAk6AQAACQEAAAAJrBEAAAGUCgAAgwoAAAmtEQAABq4RAAADJzE0EQAAAAk6AQAACa8RAAAJOgEAAAkBAAAACbARAAABlQoAAIMKAAAJsREAAAayEQAAAycxNRIAAAAJOgEAAAmzEQAACToBAAAJAQAAAAm0EQAAAZYKAACDCgAACbURAAAJeBEAABMAAAAJOgEAAAm2EQAACToBAAAJAQAAAAm3EQAAAZcKAABpAAAACgoAAAAAAAAAAA0AAAAAAQGYCgAAaQAAAAoKAQAAAAAAAAD/////AAEHmQoAAAABAAAABAAAAAQdQXBsb3Jpcy5CYXNlLk9iamVjdHMuVmFyaWFibGUDAAAAAbgRAABPAQAAAQAAAAAAAAABuREAAE8BAAAAAAAAAAAAAAG6EQAATwEAAAAAAAAAAAAAAbsRAABPAQAAAAAAAAAAAAAPmgoAAAEAAAAIAAAAAAGfCgAAaQAAAAoKAAAAAAAAAAANAAAAAAEBoAoAAGkAAAAKCgEAAAAAAAAA/////wABB6EKAAAAAQAAAAQAAAAEHUFwbG9yaXMuQmFzZS5PYmplY3RzLlZhcmlhYmxlAwAAAAG8EQAATwEAAAEAAAAAAAAAAb0RAABPAQAAAAAAAAAAAAABvhEAAE8BAAAAAAAAAAAAAAG/EQAATwEAAAAAAAAAAAAAD6IKAAABAAAACAAAAAABpwoAAGkAAAAKCgAAAAAAAAAADQAAAAABAagKAABpAAAACgoBAAAAAAAAAP////8AAQepCgAAAAEAAAAEAAAABB1BcGxvcmlzLkJhc2UuT2JqZWN0cy5WYXJpYWJsZQMAAAABwBEAAE8BAAABAAAAAAAAAAHBEQAATwEAAAAAAAAAAAAAAcIRAABPAQAAAAAAAAAAAAABwxEAAE8BAAAAAAAAAAAAAA+qCgAAAQAAAAgAAAAAAa8KAABpAAAACgoAAAAAAAAAAA0AAAAAAQGwCgAAaQAAAAoKAQAAAAAAAAD/////AAEHsQoAAAABAAAABAAAAAQdQXBsb3Jpcy5CYXNlLk9iamVjdHMuVmFyaWFibGUDAAAAAcQRAABPAQAAAQAAAAAAAAABxREAAE8BAAAAAAAAAAAAAAHGEQAATwEAAAAAAAAAAAAAAccRAABPAQAAAAAAAAAAAAAPsgoAAAEAAAAIAAAAAAG3CgAAaQAAAAoKAAAAAAAAAAANAAAAAAEBuAoAAGkAAAAKCgEAAAAAAAAA/////wABB7kKAAAAAQAAAAQAAAAEHUFwbG9yaXMuQmFzZS5PYmplY3RzLlZhcmlhYmxlAwAAAAHIEQAATwEAAAEAAAAAAAAAAckRAABPAQAAAAAAAAAAAAAByhEAAE8BAAAAAAAAAAAAAAHLEQAATwEAAAAAAAAAAAAAD7oKAAABAAAACAAAAAABvwoAAGkAAAAKCgAAAAAAAAAADQAAAAABAcAKAABpAAAACgoBAAAAAAAAAP////8AAQfBCgAAAAEAAAAEAAAABB1BcGxvcmlzLkJhc2UuT2JqZWN0cy5WYXJpYWJsZQMAAAABzBEAAE8BAAABAAAAAAAAAAHNEQAATwEAAAAAAAAAAAAAAc4RAABPAQAAAAAAAAAAAAABzxEAAE8BAAAAAAAAAAAAAA/CCgAAAQAAAAgAAAAAAccKAABpAAAACgoAAAAAAAAAAA0AAAAAAQHICgAAaQAAAAoKAQAAAAAAAAD/////AAEHyQoAAAABAAAABAAAAAQdQXBsb3Jpcy5CYXNlLk9iamVjdHMuVmFyaWFibGUDAAAAAdARAABPAQAAAQAAAAAAAAAB0REAAE8BAAAAAAAAAAAAAAHSEQAATwEAAAAAAAAAAAAAAdMRAABPAQAAAAAAAAAAAAAPygoAAAEAAAAIAAAAAAHPCgAAaQAAAAoKAAAAAAAAAAANAAAAAAEB0AoAAGkAAAAKCgEAAAAAAAAA/////wABB9EKAAAAAQAAAAQAAAAEHUFwbG9yaXMuQmFzZS5PYmplY3RzLlZhcmlhYmxlAwAAAAHUEQAATwEAAAEAAAAAAAAAAdURAABPAQAAAAAAAAAAAAAB1hEAAE8BAAAAAAAAAAAAAAHXEQAATwEAAAAAAAAAAAAAD9IKAAABAAAACAAAAAAB1woAAGkAAAAKCgAAAAAAAAAADQAAAAABAdgKAABpAAAACgoBAAAAAAAAAP////8AAQfZCgAAAAEAAAAEAAAABB1BcGxvcmlzLkJhc2UuT2JqZWN0cy5WYXJpYWJsZQMAAAAB2BEAAE8BAAABAAAAAAAAAAHZEQAATwEAAAAAAAAAAAAAAdoRAABPAQAAAAAAAAAAAAAB2xEAAE8BAAAAAAAAAAAAAA/aCgAAAQAAAAgAAAAAAd8KAABpAAAACgoAAAAAAAAAAA0AAAAAAQHgCgAAaQAAAAoKAQAAAAAAAAD/////AAEH4QoAAAABAAAABAAAAAQdQXBsb3Jpcy5CYXNlLk9iamVjdHMuVmFyaWFibGUDAAAAAdwRAABPAQAAAQAAAAAAAAAB3REAAE8BAAAAAAAAAAAAAAHeEQAATwEAAAAAAAAAAAAAAd8RAABPAQAAAAAAAAAAAAAP4goAAAEAAAAIAAAAAAHnCgAAaQAAAAoKAAAAAAAAAAANAAAAAAEB6AoAAGkAAAAKCgEAAAAAAAAA/////wABB+kKAAAAAQAAAAQAAAAEHUFwbG9yaXMuQmFzZS5PYmplY3RzLlZhcmlhYmxlAwAAAAHgEQAATwEAAAEAAAAAAAAAAeERAABPAQAAAAAAAAAAAAAB4hEAAE8BAAAAAAAAAAAAAAHjEQAATwEAAAAAAAAAAAAAD+oKAAABAAAACAAAAAAB7woAAGkAAAAKCgAAAAAAAAAADQAAAAABAfAKAABpAAAACgoBAAAAAAAAAP////8AAQfxCgAAAAEAAAAEAAAABB1BcGxvcmlzLkJhc2UuT2JqZWN0cy5WYXJpYWJsZQMAAAAB5BEAAE8BAAABAAAAAAAAAAHlEQAATwEAAAAAAAAAAAAAAeYRAABPAQAAAAAAAAAAAAAB5xEAAE8BAAAAAAAAAAAAAA/yCgAAAQAAAAgAAAAAAfcKAABpAAAACgoAAAAAAAAAAA0AAAAAAQH4CgAAaQAAAAoKAQAAAAAAAAD/////AAEH+QoAAAABAAAABAAAAAQdQXBsb3Jpcy5CYXNlLk9iamVjdHMuVmFyaWFibGUDAAAAAegRAABPAQAAAQAAAAAAAAAB6REAAE8BAAAAAAAAAAAAAAHqEQAATwEAAAAAAAAAAAAAAesRAABPAQAAAAAAAAAAAAAP+goAAAEAAAAIAAAAAAH/CgAAaQAAAAoKAAAAAAAAAAANAAAAAAEBAAsAAGkAAAAKCgEAAAAAAAAA/////wABBwELAAAAAQAAAAQAAAAEHUFwbG9yaXMuQmFzZS5PYmplY3RzLlZhcmlhYmxlAwAAAAHsEQAATwEAAAEAAAAAAAAAAe0RAABPAQAAAAAAAAAAAAAB7hEAAE8BAAAAAAAAAAAAAAHvEQAATwEAAAAAAAAAAAAADwILAAABAAAACAAAAAABBwsAAGkAAAAKCgAAAAAAAAAADQAAAAABAQgLAABpAAAACgoBAAAAAAAAAP////8AAQcJCwAAAAEAAAAEAAAABB1BcGxvcmlzLkJhc2UuT2JqZWN0cy5WYXJpYWJsZQMAAAAB8BEAAE8BAAABAAAAAAAAAAHxEQAATwEAAAAAAAAAAAAAAfIRAABPAQAAAAAAAAAAAAAB8xEAAE8BAAAAAAAAAAAAAA8KCwAAAQAAAAgAAAAAAQ8LAABpAAAACgoAAAAAAAAAAA0AAAAAAQEQCwAAaQAAAAoKAQAAAAAAAAD/////AAEHEQsAAAABAAAABAAAAAQdQXBsb3Jpcy5CYXNlLk9iamVjdHMuVmFyaWFibGUDAAAAAfQRAABPAQAAAQAAAAAAAAAB9REAAE8BAAAAAAAAAAAAAAH2EQAATwEAAAAAAAAAAAAAAfcRAABPAQAAAAAAAAAAAAAPEgsAAAEAAAAIAAAAAAEXCwAAaQAAAAoKAAAAAAAAAAANAAAAAAEBGAsAAGkAAAAKCgEAAAAAAAAA/////wABBxkLAAAAAQAAAAQAAAAEHUFwbG9yaXMuQmFzZS5PYmplY3RzLlZhcmlhYmxlAwAAAAH4EQAATwEAAAEAAAAAAAAAAfkRAABPAQAAAAAAAAAAAAAB+hEAAE8BAAAAAAAAAAAAAAH7EQAATwEAAAAAAAAAAAAADxoLAAABAAAACAAAAAABHwsAAGkAAAAKCgAAAAAAAAAADQAAAAABASALAABpAAAACgoBAAAAAAAAAP////8AAQchCwAAAAEAAAAEAAAABB1BcGxvcmlzLkJhc2UuT2JqZWN0cy5WYXJpYWJsZQMAAAAB/BEAAE8BAAABAAAAAAAAAAH9EQAATwEAAAAAAAAAAAAAAf4RAABPAQAAAAAAAAAAAAAB/xEAAE8BAAAAAAAAAAAAAA8iCwAAAQAAAAgAAAAAAScLAABpAAAACgoAAAAAAAAAAA0AAAAAAQEoCwAAaQAAAAoKAQAAAAAAAAD/////AAEHKQsAAAABAAAABAAAAAQdQXBsb3Jpcy5CYXNlLk9iamVjdHMuVmFyaWFibGUDAAAAAQASAABPAQAAAQAAAAAAAAABARIAAE8BAAAAAAAAAAAAAAECEgAATwEAAAAAAAAAAAAAAQMSAABPAQAAAAAAAAAAAAAPKgsAAAEAAAAIAAAAAAEvCwAAaQAAAAoKAAAAAAAAAAANAAAAAAEBMAsAAGkAAAAKCgEAAAAAAAAA/////wABBzELAAAAAQAAAAQAAAAEHUFwbG9yaXMuQmFzZS5PYmplY3RzLlZhcmlhYmxlAwAAAAEEEgAATwEAAAEAAAAAAAAAAQUSAABPAQAAAAAAAAAAAAABBhIAAE8BAAAAAAAAAAAAAAEHEgAATwEAAAAAAAAAAAAADzILAAABAAAACAAAAAAHXwsAAAABAAAAAgAAAAQaQXBsb3Jpcy5CYXNlLlVJLlZpc3VhbExpbmUDAAAACgoBYAsAACgAAAAJ/gAAAAAAAAAAAAAAAWELAAApAAAACfoAAAAAAAAAAAAAAAFiCwAAYwEAAApYAgAAAQgSAADqAgAAAgAAAAEJEgAA6wIAAAEAAAABChIAABQAAACymoRCchvNQrh1tEAEACdCAQsSAADtAgAAAAAAAAAAoEAAAQwSAAAkAAAAXz6KQnPb9kIBDRIAAGcAAAAAAAAAAAAAAAAAAAAACQ4SAAAAAAAACQ8SAAAAAAABEBIAAGoAAAAAAAAAARESAABrAAAAAAAwQQAAUEEBEhIAABQAAABJkoBCkyTtQpYAIkFJkhRB6SaRPwYTEgAAAjM1CgkUEgAACfYCAAA0AwAA/////wEBCgkVEgAAAQAKAAFjCwAAHgAAAAEWEgAAJAAAAGM1fUK6TRNDARcSAAAkAAAADeKVQnIbx0IJGBIAAAkZEgAAAAAAAAoBGhIAAGsAAAAAAAAAAAAAAAEbEgAAawAAAAAAAAAAAAAAAAAAAAEcEgAAFAAAAAAAAAAAAAAAAAAAAAAAAACkAQAA/////wEBCgkdEgAAAQAKAAdkCwAAAAEAAAACAAAABBpBcGxvcmlzLkJhc2UuVUkuVmlzdWFsTGluZQMAAAAKCgdlCwAAAAEAAAADAAAABBVTeXN0ZW0uRHJhd2luZy5Qb2ludEYEAAAAAR4SAAAkAAAAXz6KQnPb9kIBHxIAACQAAABiNXFCc9v2QgEgEgAAJAAAAA3im0Jz2/ZCB2YLAAAAAQAAAAMAAAAEF0FwbG9yaXMuQmFzZS5BbmNob3JNb2RlAwAAAAEhEgAAZwAAAAAAAAABIhIAAGcAAAACAAAAASMSAABnAAAABAAAAAFnCwAAKAAAAAn+AAAAAAAAAAAAAAABaAsAACkAAAAJJBIAAAIAAAACAAAAB2kLAAAAAQAAAAIAAAAEGkFwbG9yaXMuQmFzZS5VSS5WaXN1YWxMaW5lAwAAAAoKAWoLAAAoAAAACf4AAAAAAAAAAAAAAAFrCwAAKQAAAAn6AAAAAAAAAAAAAAAHbAsAAAABAAAAAgAAAAQaQXBsb3Jpcy5CYXNlLlVJLlZpc3VhbExpbmUDAAAACgoBbQsAACgAAAAJ/gAAAAAAAAAAAAAAAW4LAAApAAAACfoAAAAAAAAAAAAAAAdvCwAAAAEAAAACAAAABBpBcGxvcmlzLkJhc2UuVUkuVmlzdWFsTGluZQMAAAAKCgFwCwAAKAAAAAn+AAAAAAAAAAAAAAABcQsAACkAAAAJ+gAAAAAAAAAAAAAAB3ILAAAAAQAAAAIAAAAEGkFwbG9yaXMuQmFzZS5VSS5WaXN1YWxMaW5lAwAAAAoKAXMLAAAoAAAACf4AAAAAAAAAAAAAAAF0CwAAKQAAAAn6AAAAAAAAAAAAAAAHdQsAAAABAAAAAgAAAAQaQXBsb3Jpcy5CYXNlLlVJLlZpc3VhbExpbmUDAAAACgoBdgsAACgAAAAJ/gAAAAAAAAAAAAAAAXcLAAApAAAACfoAAAAAAAAAAAAAAAd4CwAAAAEAAAACAAAABBpBcGxvcmlzLkJhc2UuVUkuVmlzdWFsTGluZQMAAAAKCgF5CwAAKAAAAAn+AAAAAAAAAAAAAAABegsAACkAAAAJ+gAAAAAAAAAAAAAAB3sLAAAAAQAAAAIAAAAEGkFwbG9yaXMuQmFzZS5VSS5WaXN1YWxMaW5lAwAAAAoKAXwLAAAoAAAACf4AAAAAAAAAAAAAAAF9CwAAKQAAAAn6AAAAAAAAAAAAAAAHfgsAAAABAAAAAgAAAAQaQXBsb3Jpcy5CYXNlLlVJLlZpc3VhbExpbmUDAAAACgoHfwsAAAABAAAAAwAAAAQVU3lzdGVtLkRyYXdpbmcuUG9pbnRGBAAAAAElEgAAJAAAAFxjCkQ6v6FDASYSAAAkAAAAt5/hQzq/oUMBJxIAACQAAADc9iNEOr+hQweACwAAAAEAAAADAAAABBdBcGxvcmlzLkJhc2UuQW5jaG9yTW9kZQMAAAABKBIAAGcAAAAAAAAAASkSAABnAAAAAgAAAAEqEgAAZwAAAAQAAAABgQsAACgAAAAJ/gAAAAAAAAAAAAAAAYILAAApAAAACSsSAAAAAAAABAAAAAeDCwAAAAEAAAACAAAABBpBcGxvcmlzLkJhc2UuVUkuVmlzdWFsTGluZQMAAAAKCgGECwAAKAAAAAn+AAAAAAAAAAAAAAABhQsAACkAAAAJ+gAAAAAAAAAAAAAAB4YLAAAAAQAAAAIAAAAEGkFwbG9yaXMuQmFzZS5VSS5WaXN1YWxMaW5lAwAAAAoKAYcLAAAoAAAACf4AAAAAAAAAAAAAAAGICwAAKQAAAAn6AAAAAAAAAAAAAAAHiQsAAAABAAAAAgAAAAQaQXBsb3Jpcy5CYXNlLlVJLlZpc3VhbExpbmUDAAAACgoBigsAACgAAAAJ/gAAAAAAAAAAAAAAAYsLAAApAAAACfoAAAAAAAAAAAAAAAeMCwAAAAEAAAACAAAABBpBcGxvcmlzLkJhc2UuVUkuVmlzdWFsTGluZQMAAAAKCgGNCwAAKAAAAAn+AAAAAAAAAAAAAAABjgsAACkAAAAJ+gAAAAAAAAAAAAAAB48LAAAAAQAAAAIAAAAEGkFwbG9yaXMuQmFzZS5VSS5WaXN1YWxMaW5lAwAAAAoKAZALAAAoAAAACf4AAAAAAAAAAAAAAAGRCwAAKQAAAAn6AAAAAAAAAAAAAAAHkgsAAAABAAAAAgAAAAQaQXBsb3Jpcy5CYXNlLlVJLlZpc3VhbExpbmUDAAAACgoBkwsAACgAAAAJ/gAAAAAAAAAAAAAAAZQLAAApAAAACfoAAAAAAAAAAAAAAAeVCwAAAAEAAAACAAAABBpBcGxvcmlzLkJhc2UuVUkuVmlzdWFsTGluZQMAAAAKCgGWCwAAKAAAAAn+AAAAAAAAAAAAAAABlwsAACkAAAAJ+gAAAAAAAAAAAAAAB5gLAAAAAQAAAAIAAAAEGkFwbG9yaXMuQmFzZS5VSS5WaXN1YWxMaW5lAwAAAAoKB5kLAAAAAQAAAAMAAAAEFVN5c3RlbS5EcmF3aW5nLlBvaW50RgQAAAABLBIAACQAAACojrRDiMKfQwEtEgAAJAAAAJp9hEOIwp9DAS4SAAAkAAAAtp/kQ4jCn0MHmgsAAAABAAAAAwAAAAQXQXBsb3Jpcy5CYXNlLkFuY2hvck1vZGUDAAAAAS8SAABnAAAAAAAAAAEwEgAAZwAAAAIAAAABMRIAAGcAAAAEAAAAAZsLAAAoAAAACf4AAAAAAAAAAAAAAAGcCwAAKQAAAAkyEgAAAAAAAAQAAAAHnQsAAAABAAAAAgAAAAQaQXBsb3Jpcy5CYXNlLlVJLlZpc3VhbExpbmUDAAAACgoBngsAACgAAAAJ/gAAAAAAAAAAAAAAAZ8LAAApAAAACfoAAAAAAAAAAAAAAAegCwAAAAEAAAACAAAABBpBcGxvcmlzLkJhc2UuVUkuVmlzdWFsTGluZQMAAAAKCgGhCwAAKAAAAAn+AAAAAAAAAAAAAAABogsAACkAAAAJ+gAAAAAAAAAAAAAAB6MLAAAAAQAAAAIAAAAEGkFwbG9yaXMuQmFzZS5VSS5WaXN1YWxMaW5lAwAAAAoKAaQLAAAoAAAACf4AAAAAAAAAAAAAAAGlCwAAKQAAAAn6AAAAAAAAAAAAAAAHpgsAAAABAAAAAgAAAAQaQXBsb3Jpcy5CYXNlLlVJLlZpc3VhbExpbmUDAAAACgoBpwsAACgAAAAJ/gAAAAAAAAAAAAAAAagLAAApAAAACfoAAAAAAAAAAAAAAAepCwAAAAEAAAACAAAABBpBcGxvcmlzLkJhc2UuVUkuVmlzdWFsTGluZQMAAAAKCgGqCwAAKAAAAAn+AAAAAAAAAAAAAAABqwsAACkAAAAJ+gAAAAAAAAAAAAAAB6wLAAAAAQAAAAIAAAAEGkFwbG9yaXMuQmFzZS5VSS5WaXN1YWxMaW5lAwAAAAoKAa0LAAAoAAAACf4AAAAAAAAAAAAAAAGuCwAAKQAAAAn6AAAAAAAAAAAAAAAHrwsAAAABAAAAAgAAAAQaQXBsb3Jpcy5CYXNlLlVJLlZpc3VhbExpbmUDAAAACgoBsAsAACgAAAAJ/gAAAAAAAAAAAAAAAbELAAApAAAACfoAAAAAAAAAAAAAAAeyCwAAAAEAAAACAAAABBpBcGxvcmlzLkJhc2UuVUkuVmlzdWFsTGluZQMAAAAKCgGzCwAAKAAAAAn+AAAAAAAAAAAAAAABtAsAACkAAAAJ+gAAAAAAAAAAAAAAB7ULAAAAAQAAAAIAAAAEGkFwbG9yaXMuQmFzZS5VSS5WaXN1YWxMaW5lAwAAAAoKAbYLAAAoAAAACf4AAAAAAAAAAAAAAAG3CwAAKQAAAAn6AAAAAAAAAAAAAAAHuAsAAAABAAAAAgAAAAQaQXBsb3Jpcy5CYXNlLlVJLlZpc3VhbExpbmUDAAAACgoBuQsAACgAAAAJ/gAAAAAAAAAAAAAAAboLAAApAAAACfoAAAAAAAAAAAAAAAe7CwAAAAEAAAACAAAABBpBcGxvcmlzLkJhc2UuVUkuVmlzdWFsTGluZQMAAAAKCgG8CwAAKAAAAAn+AAAAAAAAAAAAAAABvQsAACkAAAAJ+gAAAAAAAAAAAAAAB74LAAAAAQAAAAIAAAAEGkFwbG9yaXMuQmFzZS5VSS5WaXN1YWxMaW5lAwAAAAoKAb8LAAAoAAAACf4AAAAAAAAAAAAAAAHACwAAKQAAAAn6AAAAAAAAAAAAAAAHwQsAAAABAAAAAgAAAAQaQXBsb3Jpcy5CYXNlLlVJLlZpc3VhbExpbmUDAAAACgoBwgsAACgAAAAJ/gAAAAAAAAAAAAAAAcMLAAApAAAACfoAAAAAAAAAAAAAAAfECwAAAAEAAAACAAAABBpBcGxvcmlzLkJhc2UuVUkuVmlzdWFsTGluZQMAAAAKCgHFCwAAKAAAAAn+AAAAAAAAAAAAAAABxgsAACkAAAAJ+gAAAAAAAAAAAAAAB8cLAAAAAQAAAAIAAAAEGkFwbG9yaXMuQmFzZS5VSS5WaXN1YWxMaW5lAwAAAAoKAcgLAAAoAAAACf4AAAAAAAAAAAAAAAHJCwAAKQAAAAn6AAAAAAAAAAAAAAAHygsAAAABAAAAAgAAAAQaQXBsb3Jpcy5CYXNlLlVJLlZpc3VhbExpbmUDAAAACgoBywsAACgAAAAJ/gAAAAAAAAAAAAAAAcwLAAApAAAACfoAAAAAAAAAAAAAAAfNCwAAAAEAAAACAAAABBpBcGxvcmlzLkJhc2UuVUkuVmlzdWFsTGluZQMAAAAKCgHOCwAAKAAAAAn+AAAAAAAAAAAAAAABzwsAACkAAAAJ+gAAAAAAAAAAAAAAB9ALAAAAAQAAAAIAAAAEGkFwbG9yaXMuQmFzZS5VSS5WaXN1YWxMaW5lAwAAAAoKAdELAAAoAAAACf4AAAAAAAAAAAAAAAHSCwAAKQAAAAn6AAAAAAAAAAAAAAAH0wsAAAABAAAAAgAAAAQaQXBsb3Jpcy5CYXNlLlVJLlZpc3VhbExpbmUDAAAACgoB1AsAACgAAAAJ/gAAAAAAAAAAAAAAAdULAAApAAAACfoAAAAAAAAAAAAAAAHWCwAAYwEAAApYAgAAATMSAADqAgAAAgAAAAE0EgAA6wIAAAEAAAABNRIAABQAAADb3h5ENpMQQ0CME0EAAAAAATYSAADtAgAAAAAAAAAAoEAAATcSAAAkAAAA9AUgRDaTEEMBOBIAAGcAAAAAAAAAAAAAAAAAAAAACTkSAAAAAAAACToSAAABAAABOxIAAGoAAAAAAAAAATwSAABrAAAAAACgQAAAUEEBPRIAABQAAAAlSR9EAAAMQ5ncukBJkhRB6SaRPwY+EgAAATQKCT8SAAAJ9gIAADQDAAD/////AQEKCUASAAABAAoAAdcLAAAeAAAAAUESAAAkAAAA2x4eRLpNE0MBQhIAACQAAAAM7SFEs9gNQwlDEgAACUQSAAAAAAAACgFFEgAAawAAAAAAAAAAAAAAAUYSAABrAAAAAAAAAAAAAAAAAAAAAUcSAAAUAAAAAAAAAAAAAAAAAAAAAAAAAKQBAAD/////AQEKCUgSAAABAAoAB9gLAAAAAQAAAAIAAAAEGkFwbG9yaXMuQmFzZS5VSS5WaXN1YWxMaW5lAwAAAAoKB9kLAAAAAQAAAAMAAAAEFVN5c3RlbS5EcmF3aW5nLlBvaW50RgQAAAABSRIAACQAAAD0BSBENpMQQwFKEgAAJAAAANxeHUQ2kxBDAUsSAAAkAAAADK0iRDaTEEMH2gsAAAABAAAAAwAAAAQXQXBsb3Jpcy5CYXNlLkFuY2hvck1vZGUDAAAAAUwSAABnAAAAAAAAAAFNEgAAZwAAAAIAAAABThIAAGcAAAAEAAAAAdsLAAAoAAAACf4AAAAAAAAAAAAAAAHcCwAAKQAAAAlPEgAAAgAAAAIAAAAH3QsAAAABAAAAAgAAAAQaQXBsb3Jpcy5CYXNlLlVJLlZpc3VhbExpbmUDAAAACgoB3gsAACgAAAAJ/gAAAAAAAAAAAAAAAd8LAAApAAAACfoAAAAAAAAAAAAAAAfgCwAAAAEAAAACAAAABBpBcGxvcmlzLkJhc2UuVUkuVmlzdWFsTGluZQMAAAAKCgHhCwAAKAAAAAn+AAAAAAAAAAAAAAAB4gsAACkAAAAJ+gAAAAAAAAAAAAAAB+MLAAAAAQAAAAIAAAAEGkFwbG9yaXMuQmFzZS5VSS5WaXN1YWxMaW5lAwAAAAoKAeQLAAAoAAAACf4AAAAAAAAAAAAAAAHlCwAAKQAAAAn6AAAAAAAAAAAAAAAH5gsAAAABAAAAAgAAAAQaQXBsb3Jpcy5CYXNlLlVJLlZpc3VhbExpbmUDAAAACgoB5wsAACgAAAAJ/gAAAAAAAAAAAAAAAegLAAApAAAACfoAAAAAAAAAAAAAAAfpCwAAAAEAAAACAAAABBpBcGxvcmlzLkJhc2UuVUkuVmlzdWFsTGluZQMAAAAKCgHqCwAAKAAAAAn+AAAAAAAAAAAAAAAB6wsAACkAAAAJ+gAAAAAAAAAAAAAAB+wLAAAAAQAAAAIAAAAEGkFwbG9yaXMuQmFzZS5VSS5WaXN1YWxMaW5lAwAAAAoKAe0LAAAoAAAACf4AAAAAAAAAAAAAAAHuCwAAKQAAAAn6AAAAAAAAAAAAAAAH7wsAAAABAAAAAgAAAAQaQXBsb3Jpcy5CYXNlLlVJLlZpc3VhbExpbmUDAAAACgoB8AsAACgAAAAJ/gAAAAAAAAAAAAAAAfELAAApAAAACfoAAAAAAAAAAAAAAAfyCwAAAAEAAAACAAAABBpBcGxvcmlzLkJhc2UuVUkuVmlzdWFsTGluZQMAAAAKCgHzCwAAKAAAAAn+AAAAAAAAAAAAAAAB9AsAACkAAAAJ+gAAAAAAAAAAAAAAB/ULAAAAAQAAAAIAAAAEGkFwbG9yaXMuQmFzZS5VSS5WaXN1YWxMaW5lAwAAAAoKAfYLAAAoAAAACf4AAAAAAAAAAAAAAAH3CwAAKQAAAAn6AAAAAAAAAAAAAAAH+AsAAAABAAAAAgAAAAQaQXBsb3Jpcy5CYXNlLlVJLlZpc3VhbExpbmUDAAAACgoB+QsAACgAAAAJ/gAAAAAAAAAAAAAAAfoLAAApAAAACfoAAAAAAAAAAAAAAAf7CwAAAAEAAAACAAAABBpBcGxvcmlzLkJhc2UuVUkuVmlzdWFsTGluZQMAAAAKCgH8CwAAKAAAAAn+AAAAAAAAAAAAAAAB/QsAACkAAAAJ+gAAAAAAAAAAAAAAAf4LAABjAQAAClgCAAABUBIAAOoCAAACAAAAAVESAADrAgAAAQAAAAFSEgAAFAAAAH4RjENikQRDtPSjQoDFO0EBUxIAAO0CAAAAAAAAAACgQAABVBIAACQAAAAUkKBDjm8KQwFVEgAAZwAAAAAAAAAAAAAAAAAAAAAJVhIAAAAAAAAJVxIAAAAAAAFYEgAAagAAAAAAAAABWRIAAGsAAAAAADBBAABQQQFaEgAAFAAAAG7bnUNJkgVDlgAiQUmSFEHpJpE/BlsSAAACMTMKCVwSAAAJ9gIAADQDAAD/////AQEKCV0SAAABAAoAAf8LAAAeAAAAAV4SAAAkAAAAfpGKQ7pNE0MBXxIAACQAAACrjrZDYpEBQwlgEgAACWESAAAAAAAACgFiEgAAawAAAAAAAAAAAAAAAWMSAABrAAAAAAAAAAAAAAAAAAAAAWQSAAAUAAAAAAAAAAAAAAAAAAAAAAAAAKQBAAD/////AQEKCWUSAAABAAoABwAMAAAAAQAAAAIAAAAEGkFwbG9yaXMuQmFzZS5VSS5WaXN1YWxMaW5lAwAAAAoKBwEMAAAAAQAAAAMAAAAEFVN5c3RlbS5EcmF3aW5nLlBvaW50RgQAAAABZhIAACQAAAAUkKBDjm8KQwFnEgAAJAAAAH4RiUOObwpDAWgSAAAkAAAAqg64Q45vCkMHAgwAAAABAAAAAwAAAAQXQXBsb3Jpcy5CYXNlLkFuY2hvck1vZGUDAAAAAWkSAABnAAAAAAAAAAFqEgAAZwAAAAIAAAABaxIAAGcAAAAEAAAAAQMMAAAoAAAACf4AAAAAAAAAAAAAAAEEDAAAKQAAAAlsEgAAAgAAAAIAAAAHBQwAAAABAAAAAgAAAAQaQXBsb3Jpcy5CYXNlLlVJLlZpc3VhbExpbmUDAAAACgoBBgwAACgAAAAJ/gAAAAAAAAAAAAAAAQcMAAApAAAACfoAAAAAAAAAAAAAAAcIDAAAAAEAAAACAAAABBpBcGxvcmlzLkJhc2UuVUkuVmlzdWFsTGluZQMAAAAKCgEJDAAAKAAAAAn+AAAAAAAAAAAAAAABCgwAACkAAAAJ+gAAAAAAAAAAAAAABwsMAAAAAQAAAAIAAAAEGkFwbG9yaXMuQmFzZS5VSS5WaXN1YWxMaW5lAwAAAAoKAQwMAAAoAAAACf4AAAAAAAAAAAAAAAENDAAAKQAAAAn6AAAAAAAAAAAAAAAHDgwAAAABAAAAAgAAAAQaQXBsb3Jpcy5CYXNlLlVJLlZpc3VhbExpbmUDAAAACgoBDwwAACgAAAAJ/gAAAAAAAAAAAAAAARAMAAApAAAACfoAAAAAAAAAAAAAAAcRDAAAAAEAAAACAAAABBpBcGxvcmlzLkJhc2UuVUkuVmlzdWFsTGluZQMAAAAKCgESDAAAKAAAAAn+AAAAAAAAAAAAAAABEwwAACkAAAAJ+gAAAAAAAAAAAAAABxQMAAAAAQAAAAIAAAAEGkFwbG9yaXMuQmFzZS5VSS5WaXN1YWxMaW5lAwAAAAoKARUMAAAoAAAACf4AAAAAAAAAAAAAAAEWDAAAKQAAAAn6AAAAAAAAAAAAAAAHFwwAAAABAAAAAgAAAAQaQXBsb3Jpcy5CYXNlLlVJLlZpc3VhbExpbmUDAAAACgoBGAwAACgAAAAJ/gAAAAAAAAAAAAAAARkMAAApAAAACfoAAAAAAAAAAAAAAAcaDAAAAAEAAAACAAAABBpBcGxvcmlzLkJhc2UuVUkuVmlzdWFsTGluZQMAAAAKCgEbDAAAKAAAAAn+AAAAAAAAAAAAAAABHAwAACkAAAAJ+gAAAAAAAAAAAAAABx0MAAAAAQAAAAIAAAAEGkFwbG9yaXMuQmFzZS5VSS5WaXN1YWxMaW5lAwAAAAoKAR4MAAAoAAAACf4AAAAAAAAAAAAAAAEfDAAAKQAAAAn6AAAAAAAAAAAAAAAHIAwAAAABAAAAAgAAAAQaQXBsb3Jpcy5CYXNlLlVJLlZpc3VhbExpbmUDAAAACgoBIQwAACgAAAAJ/gAAAAAAAAAAAAAAASIMAAApAAAACfoAAAAAAAAAAAAAAAcjDAAAAAEAAAACAAAABBpBcGxvcmlzLkJhc2UuVUkuVmlzdWFsTGluZQMAAAAKCgEkDAAAKAAAAAn+AAAAAAAAAAAAAAABJQwAACkAAAAJ+gAAAAAAAAAAAAAAByYMAAAAAQAAAAIAAAAEGkFwbG9yaXMuQmFzZS5VSS5WaXN1YWxMaW5lAwAAAAoKAScMAAAoAAAACf4AAAAAAAAAAAAAAAEoDAAAKQAAAAn6AAAAAAAAAAAAAAAHKQwAAAABAAAAAgAAAAQaQXBsb3Jpcy5CYXNlLlVJLlZpc3VhbExpbmUDAAAACgoBKgwAACgAAAAJ/gAAAAAAAAAAAAAAASsMAAApAAAACfoAAAAAAAAAAAAAAAcsDAAAAAEAAAACAAAABBpBcGxvcmlzLkJhc2UuVUkuVmlzdWFsTGluZQMAAAAKCgEtDAAAKAAAAAn+AAAAAAAAAAAAAAABLgwAACkAAAAJ+gAAAAAAAAAAAAAABy8MAAAAAQAAAAIAAAAEGkFwbG9yaXMuQmFzZS5VSS5WaXN1YWxMaW5lAwAAAAoKATAMAAAoAAAACf4AAAAAAAAAAAAAAAExDAAAKQAAAAn6AAAAAAAAAAAAAAAHMgwAAAABAAAAAgAAAAQaQXBsb3Jpcy5CYXNlLlVJLlZpc3VhbExpbmUDAAAACgoBMwwAACgAAAAJ/gAAAAAAAAAAAAAAATQMAAApAAAACfoAAAAAAAAAAAAAAAc1DAAAAAEAAAACAAAABBpBcGxvcmlzLkJhc2UuVUkuVmlzdWFsTGluZQMAAAAKCgE2DAAAKAAAAAn+AAAAAAAAAAAAAAABNwwAACkAAAAJ+gAAAAAAAAAAAAAABzgMAAAAAQAAAAIAAAAEGkFwbG9yaXMuQmFzZS5VSS5WaXN1YWxMaW5lAwAAAAoKATkMAAAoAAAACf4AAAAAAAAAAAAAAAE6DAAAKQAAAAn6AAAAAAAAAAAAAAAHOwwAAAABAAAAAgAAAAQaQXBsb3Jpcy5CYXNlLlVJLlZpc3VhbExpbmUDAAAACgoBPAwAACgAAAAJ/gAAAAAAAAAAAAAAAT0MAAApAAAACfoAAAAAAAAAAAAAAAc+DAAAAAEAAAACAAAABBpBcGxvcmlzLkJhc2UuVUkuVmlzdWFsTGluZQMAAAAKCgE/DAAAKAAAAAn+AAAAAAAAAAAAAAABQAwAACkAAAAJ+gAAAAAAAAAAAAAAB0EMAAAAAQAAAAIAAAAEGkFwbG9yaXMuQmFzZS5VSS5WaXN1YWxMaW5lAwAAAAoKAUIMAAAoAAAACf4AAAAAAAAAAAAAAAFDDAAAKQAAAAn6AAAAAAAAAAAAAAABRAwAAGMBAAAKWAIAAAFtEgAA6gIAAAIAAAABbhIAAOsCAAABAAAAAW8SAAAUAAAAzri+Q+3ADEMAEG5AQDNjQAFwEgAA7QIAAAAAAAAAAKBAAAFxEgAAJAAAAN6mv0NUhw5DAXISAABnAAAAAAAAAAAAAAAAAAAAAAlzEgAAAAAAAAl0EgAAAAAAAXUSAABqAAAAAAAAAAF2EgAAawAAAAAAoEAAAFBBAXcSAAAUAAAAblu+Q27bCUOZ3LpASZIUQekmkT8GeBIAAAE3Cgl5EgAACfYCAAA0AwAA/////wEBCgl6EgAAAQAKAAFFDAAAHgAAAAF7EgAAJAAAAM44vUO6TRNDAXwSAAAkAAAA7hTCQ+3ACUMJfRIAAAl+EgAAAAAAAAoBfxIAAGsAAAAAAAAAAAAAAAGAEgAAawAAAAAAAAAAAAAAAAAAAAGBEgAAFAAAAAAAAAAAAAAAAAAAAAAAAACkAQAA/////wEBCgmCEgAAAQAKAAdGDAAAAAEAAAACAAAABBpBcGxvcmlzLkJhc2UuVUkuVmlzdWFsTGluZQMAAAAKCgdHDAAAAAEAAAADAAAABBVTeXN0ZW0uRHJhd2luZy5Qb2ludEYEAAAAAYMSAAAkAAAA3qa/Q1SHDkMBhBIAACQAAADOuLtDVIcOQwGFEgAAJAAAAO6Uw0NUhw5DB0gMAAAAAQAAAAMAAAAEF0FwbG9yaXMuQmFzZS5BbmNob3JNb2RlAwAAAAGGEgAAZwAAAAAAAAABhxIAAGcAAAACAAAAAYgSAABnAAAABAAAAAFJDAAAKAAAAAn+AAAAAAAAAAAAAAABSgwAACkAAAAJiRIAAAIAAAACAAAAB0sMAAAAAQAAAAIAAAAEGkFwbG9yaXMuQmFzZS5VSS5WaXN1YWxMaW5lAwAAAAoKAUwMAAAoAAAACf4AAAAAAAAAAAAAAAFNDAAAKQAAAAn6AAAAAAAAAAAAAAAHTgwAAAABAAAAAgAAAAQaQXBsb3Jpcy5CYXNlLlVJLlZpc3VhbExpbmUDAAAACgoBTwwAACgAAAAJ/gAAAAAAAAAAAAAAAVAMAAApAAAACfoAAAAAAAAAAAAAAAdRDAAAAAEAAAACAAAABBpBcGxvcmlzLkJhc2UuVUkuVmlzdWFsTGluZQMAAAAKCgFSDAAAKAAAAAn+AAAAAAAAAAAAAAABUwwAACkAAAAJ+gAAAAAAAAAAAAAAB1QMAAAAAQAAAAIAAAAEGkFwbG9yaXMuQmFzZS5VSS5WaXN1YWxMaW5lAwAAAAoKAVUMAAAoAAAACf4AAAAAAAAAAAAAAAFWDAAAKQAAAAn6AAAAAAAAAAAAAAAHVwwAAAABAAAAAgAAAAQaQXBsb3Jpcy5CYXNlLlVJLlZpc3VhbExpbmUDAAAACgoBWAwAACgAAAAJ/gAAAAAAAAAAAAAAAVkMAAApAAAACfoAAAAAAAAAAAAAAAdaDAAAAAEAAAACAAAABBpBcGxvcmlzLkJhc2UuVUkuVmlzdWFsTGluZQMAAAAKCgFbDAAAKAAAAAn+AAAAAAAAAAAAAAABXAwAACkAAAAJ+gAAAAAAAAAAAAAAB10MAAAAAQAAAAIAAAAEGkFwbG9yaXMuQmFzZS5VSS5WaXN1YWxMaW5lAwAAAAoKAV4MAAAoAAAACf4AAAAAAAAAAAAAAAFfDAAAKQAAAAn6AAAAAAAAAAAAAAAHYAwAAAABAAAAAgAAAAQaQXBsb3Jpcy5CYXNlLlVJLlZpc3VhbExpbmUDAAAACgoBYQwAACgAAAAJ/gAAAAAAAAAAAAAAAWIMAAApAAAACfoAAAAAAAAAAAAAAAdjDAAAAAEAAAACAAAABBpBcGxvcmlzLkJhc2UuVUkuVmlzdWFsTGluZQMAAAAKCgFkDAAAKAAAAAn+AAAAAAAAAAAAAAABZQwAACkAAAAJ+gAAAAAAAAAAAAAAB2YMAAAAAQAAAAIAAAAEGkFwbG9yaXMuQmFzZS5VSS5WaXN1YWxMaW5lAwAAAAoKAWcMAAAoAAAACf4AAAAAAAAAAAAAAAFoDAAAKQAAAAn6AAAAAAAAAAAAAAAHaQwAAAABAAAAAgAAAAQaQXBsb3Jpcy5CYXNlLlVJLlZpc3VhbExpbmUDAAAACgoBagwAACgAAAAJ/gAAAAAAAAAAAAAAAWsMAAApAAAACfoAAAAAAAAAAAAAAAdsDAAAAAEAAAACAAAABBpBcGxvcmlzLkJhc2UuVUkuVmlzdWFsTGluZQMAAAAKCgFtDAAAKAAAAAn+AAAAAAAAAAAAAAABbgwAACkAAAAJ+gAAAAAAAAAAAAAAB28MAAAAAQAAAAIAAAAEGkFwbG9yaXMuQmFzZS5VSS5WaXN1YWxMaW5lAwAAAAoKAXAMAAAoAAAACf4AAAAAAAAAAAAAAAFxDAAAKQAAAAn6AAAAAAAAAAAAAAAHcgwAAAABAAAAAgAAAAQaQXBsb3Jpcy5CYXNlLlVJLlZpc3VhbExpbmUDAAAACgoBcwwAACgAAAAJ/gAAAAAAAAAAAAAAAXQMAAApAAAACfoAAAAAAAAAAAAAAAd1DAAAAAEAAAACAAAABBpBcGxvcmlzLkJhc2UuVUkuVmlzdWFsTGluZQMAAAAKCgF2DAAAKAAAAAn+AAAAAAAAAAAAAAABdwwAACkAAAAJ+gAAAAAAAAAAAAAAB3gMAAAAAQAAAAIAAAAEGkFwbG9yaXMuQmFzZS5VSS5WaXN1YWxMaW5lAwAAAAoKAXkMAAAoAAAACf4AAAAAAAAAAAAAAAF6DAAAKQAAAAn6AAAAAAAAAAAAAAAHewwAAAABAAAAAgAAAAQaQXBsb3Jpcy5CYXNlLlVJLlZpc3VhbExpbmUDAAAACgoBfAwAACgAAAAJ/gAAAAAAAAAAAAAAAX0MAAApAAAACfoAAAAAAAAAAAAAAAd+DAAAAAEAAAACAAAABBpBcGxvcmlzLkJhc2UuVUkuVmlzdWFsTGluZQMAAAAKCgF/DAAAKAAAAAn+AAAAAAAAAAAAAAABgAwAACkAAAAJ+gAAAAAAAAAAAAAAB4EMAAAAAQAAAAIAAAAEGkFwbG9yaXMuQmFzZS5VSS5WaXN1YWxMaW5lAwAAAAoKAYIMAAAoAAAACf4AAAAAAAAAAAAAAAGDDAAAKQAAAAn6AAAAAAAAAAAAAAABhAwAAGMBAAAKWAIAAAGKEgAA6gIAAAIAAAABixIAAOsCAAABAAAAAYwSAAAUAAAAzri+Q6TuBUMAEG5AAElSPwGNEgAA7QIAAAAAAAAAAKBAAAGOEgAAJAAAAN6mv0PIVwZDAY8SAABnAAAAAAAAAAAAAAAAAAAAAAmQEgAAAAAAAAmREgAAAQAAAZISAABqAAAAAAAAAAGTEgAAawAAAAAAoEAAAFBBAZQSAAAUAAAAblu+QwAAAkOZ3LpASZIUQekmkT8GlRIAAAE1CgmWEgAACfYCAAA0AwAA/////wEBCgmXEgAAAQAKAAGFDAAAHgAAAAGYEgAAJAAAAM44vUPtwAlDAZkSAAAkAAAA7hTCQ6TuAkMJmhIAAAmbEgAAAAAAAAoBnBIAAGsAAAAAAAAAAAAAAAGdEgAAawAAAAAAAAAAAAAAAAAAAAGeEgAAFAAAAAAAAAAAAAAAAAAAAAAAAACkAQAA/////wEBCgmfEgAAAQAKAAeGDAAAAAEAAAACAAAABBpBcGxvcmlzLkJhc2UuVUkuVmlzdWFsTGluZQMAAAAKCgeHDAAAAAEAAAADAAAABBVTeXN0ZW0uRHJhd2luZy5Qb2ludEYEAAAAAaASAAAkAAAA3qa/Q8hXBkMBoRIAACQAAADOuLtDyFcGQwGiEgAAJAAAAO6Uw0PIVwZDB4gMAAAAAQAAAAMAAAAEF0FwbG9yaXMuQmFzZS5BbmNob3JNb2RlAwAAAAGjEgAAZwAAAAAAAAABpBIAAGcAAAACAAAAAaUSAABnAAAABAAAAAGJDAAAKAAAAAn+AAAAAAAAAAAAAAABigwAACkAAAAJphIAAAIAAAACAAAAB4sMAAAAAQAAAAIAAAAEGkFwbG9yaXMuQmFzZS5VSS5WaXN1YWxMaW5lAwAAAAoKAYwMAAAoAAAACf4AAAAAAAAAAAAAAAGNDAAAKQAAAAn6AAAAAAAAAAAAAAAHjgwAAAABAAAAAgAAAAQaQXBsb3Jpcy5CYXNlLlVJLlZpc3VhbExpbmUDAAAACgoBjwwAACgAAAAJ/gAAAAAAAAAAAAAAAZAMAAApAAAACfoAAAAAAAAAAAAAAAeRDAAAAAEAAAACAAAABBpBcGxvcmlzLkJhc2UuVUkuVmlzdWFsTGluZQMAAAAKCgGSDAAAKAAAAAn+AAAAAAAAAAAAAAABkwwAACkAAAAJ+gAAAAAAAAAAAAAAB5QMAAAAAQAAAAIAAAAEGkFwbG9yaXMuQmFzZS5VSS5WaXN1YWxMaW5lAwAAAAoKAZUMAAAoAAAACf4AAAAAAAAAAAAAAAGWDAAAKQAAAAn6AAAAAAAAAAAAAAAHlwwAAAABAAAAAgAAAAQaQXBsb3Jpcy5CYXNlLlVJLlZpc3VhbExpbmUDAAAACgoBmAwAACgAAAAJ/gAAAAAAAAAAAAAAAZkMAAApAAAACfoAAAAAAAAAAAAAAAeaDAAAAAEAAAACAAAABBpBcGxvcmlzLkJhc2UuVUkuVmlzdWFsTGluZQMAAAAKCgGbDAAAKAAAAAn+AAAAAAAAAAAAAAABnAwAACkAAAAJ+gAAAAAAAAAAAAAAB50MAAAAAQAAAAIAAAAEGkFwbG9yaXMuQmFzZS5VSS5WaXN1YWxMaW5lAwAAAAoKAZ4MAAAoAAAACf4AAAAAAAAAAAAAAAGfDAAAKQAAAAn6AAAAAAAAAAAAAAAHoAwAAAABAAAAAgAAAAQaQXBsb3Jpcy5CYXNlLlVJLlZpc3VhbExpbmUDAAAACgoBoQwAACgAAAAJ/gAAAAAAAAAAAAAAAaIMAAApAAAACfoAAAAAAAAAAAAAAAejDAAAAAEAAAACAAAABBpBcGxvcmlzLkJhc2UuVUkuVmlzdWFsTGluZQMAAAAKCgGkDAAAKAAAAAn+AAAAAAAAAAAAAAABpQwAACkAAAAJ+gAAAAAAAAAAAAAAB6YMAAAAAQAAAAIAAAAEGkFwbG9yaXMuQmFzZS5VSS5WaXN1YWxMaW5lAwAAAAoKAacMAAAoAAAACf4AAAAAAAAAAAAAAAGoDAAAKQAAAAn6AAAAAAAAAAAAAAAHqQwAAAABAAAAAgAAAAQaQXBsb3Jpcy5CYXNlLlVJLlZpc3VhbExpbmUDAAAACgoBqgwAACgAAAAJ/gAAAAAAAAAAAAAAAasMAAApAAAACfoAAAAAAAAAAAAAAAesDAAAAAEAAAACAAAABBpBcGxvcmlzLkJhc2UuVUkuVmlzdWFsTGluZQMAAAAKCgGtDAAAKAAAAAn+AAAAAAAAAAAAAAABrgwAACkAAAAJ+gAAAAAAAAAAAAAAB68MAAAAAQAAAAIAAAAEGkFwbG9yaXMuQmFzZS5VSS5WaXN1YWxMaW5lAwAAAAoKAbAMAAAoAAAACf4AAAAAAAAAAAAAAAGxDAAAKQAAAAn6AAAAAAAAAAAAAAAHsgwAAAABAAAAAgAAAAQaQXBsb3Jpcy5CYXNlLlVJLlZpc3VhbExpbmUDAAAACgoBswwAACgAAAAJ/gAAAAAAAAAAAAAAAbQMAAApAAAACfoAAAAAAAAAAAAAAAe1DAAAAAEAAAACAAAABBpBcGxvcmlzLkJhc2UuVUkuVmlzdWFsTGluZQMAAAAKCgG2DAAAKAAAAAn+AAAAAAAAAAAAAAABtwwAACkAAAAJ+gAAAAAAAAAAAAAAB7gMAAAAAQAAAAIAAAAEGkFwbG9yaXMuQmFzZS5VSS5WaXN1YWxMaW5lAwAAAAoKAbkMAAAoAAAACf4AAAAAAAAAAAAAAAG6DAAAKQAAAAn6AAAAAAAAAAAAAAAHuwwAAAABAAAAAgAAAAQaQXBsb3Jpcy5CYXNlLlVJLlZpc3VhbExpbmUDAAAACgoBvAwAACgAAAAJ/gAAAAAAAAAAAAAAAb0MAAApAAAACfoAAAAAAAAAAAAAAAe+DAAAAAEAAAACAAAABBpBcGxvcmlzLkJhc2UuVUkuVmlzdWFsTGluZQMAAAAKCgG/DAAAKAAAAAn+AAAAAAAAAAAAAAABwAwAACkAAAAJ+gAAAAAAAAAAAAAAB8EMAAAAAQAAAAIAAAAEGkFwbG9yaXMuQmFzZS5VSS5WaXN1YWxMaW5lAwAAAAoKAcIMAAAoAAAACf4AAAAAAAAAAAAAAAHDDAAAKQAAAAn6AAAAAAAAAAAAAAAHxAwAAAABAAAAAgAAAAQaQXBsb3Jpcy5CYXNlLlVJLlZpc3VhbExpbmUDAAAACgoBxQwAACgAAAAJ/gAAAAAAAAAAAAAAAcYMAAApAAAACfoAAAAAAAAAAAAAAAfHDAAAAAEAAAACAAAABBpBcGxvcmlzLkJhc2UuVUkuVmlzdWFsTGluZQMAAAAKCgHIDAAAKAAAAAn+AAAAAAAAAAAAAAAByQwAACkAAAAJ+gAAAAAAAAAAAAAAB8oMAAAAAQAAAAIAAAAEGkFwbG9yaXMuQmFzZS5VSS5WaXN1YWxMaW5lAwAAAAoKAcsMAAAoAAAACf4AAAAAAAAAAAAAAAHMDAAAKQAAAAn6AAAAAAAAAAAAAAABzQwAAGMBAAAKWAIAAAGnEgAA6gIAAAIAAAABqBIAAOsCAAABAAAAAakSAAAUAAAAI1rWQ+3ADEOg+QNBQDNjQAGqEgAA7QIAAAAAAAAAAKBAAAGrEgAAJAAAAApq2ENUhw5DAawSAABnAAAAAAAAAAAAAAAAAAAAAAmtEgAAAAAAAAmuEgAAAAAAAa8SAABqAAAAAAAAAAGwEgAAawAAAAAAoEAAAFBBAbESAAAUAAAAAADXQ27bCUOZ3LpASZIUQekmkT8GshIAAAE3CgmzEgAACfYCAAA0AwAA/////wEBCgm0EgAAAQAKAAHODAAAHgAAAAG1EgAAJAAAACPa1EO6TRNDAbYSAAAkAAAA8PnbQ+3ACUMJtxIAAAm4EgAAAAAAAAoBuRIAAGsAAAAAAAAAAAAAAAG6EgAAawAAAAAAAAAAAAAAAAAAAAG7EgAAFAAAAAAAAAAAAAAAAAAAAAAAAACkAQAA/////wEBCgm8EgAAAQAKAAfPDAAAAAEAAAACAAAABBpBcGxvcmlzLkJhc2UuVUkuVmlzdWFsTGluZQMAAAAKCgfQDAAAAAEAAAADAAAABBVTeXN0ZW0uRHJhd2luZy5Qb2ludEYEAAAAAb0SAAAkAAAACmrYQ1SHDkMBvhIAACQAAAAkWtNDVIcOQwG/EgAAJAAAAPB53UNUhw5DB9EMAAAAAQAAAAMAAAAEF0FwbG9yaXMuQmFzZS5BbmNob3JNb2RlAwAAAAHAEgAAZwAAAAAAAAABwRIAAGcAAAACAAAAAcISAABnAAAABAAAAAHSDAAAKAAAAAn+AAAAAAAAAAAAAAAB0wwAACkAAAAJwxIAAAIAAAACAAAAB9QMAAAAAQAAAAIAAAAEGkFwbG9yaXMuQmFzZS5VSS5WaXN1YWxMaW5lAwAAAAoKAdUMAAAoAAAACf4AAAAAAAAAAAAAAAHWDAAAKQAAAAn6AAAAAAAAAAAAAAAH1wwAAAABAAAAAgAAAAQaQXBsb3Jpcy5CYXNlLlVJLlZpc3VhbExpbmUDAAAACgoB2AwAACgAAAAJ/gAAAAAAAAAAAAAAAdkMAAApAAAACfoAAAAAAAAAAAAAAAfaDAAAAAEAAAACAAAABBpBcGxvcmlzLkJhc2UuVUkuVmlzdWFsTGluZQMAAAAKCgHbDAAAKAAAAAn+AAAAAAAAAAAAAAAB3AwAACkAAAAJ+gAAAAAAAAAAAAAAB90MAAAAAQAAAAIAAAAEGkFwbG9yaXMuQmFzZS5VSS5WaXN1YWxMaW5lAwAAAAoKAd4MAAAoAAAACf4AAAAAAAAAAAAAAAHfDAAAKQAAAAn6AAAAAAAAAAAAAAAH4AwAAAABAAAAAgAAAAQaQXBsb3Jpcy5CYXNlLlVJLlZpc3VhbExpbmUDAAAACgoB4QwAACgAAAAJ/gAAAAAAAAAAAAAAAeIMAAApAAAACfoAAAAAAAAAAAAAAAfjDAAAAAEAAAACAAAABBpBcGxvcmlzLkJhc2UuVUkuVmlzdWFsTGluZQMAAAAKCgHkDAAAKAAAAAn+AAAAAAAAAAAAAAAB5QwAACkAAAAJ+gAAAAAAAAAAAAAAB+YMAAAAAQAAAAIAAAAEGkFwbG9yaXMuQmFzZS5VSS5WaXN1YWxMaW5lAwAAAAoKAecMAAAoAAAACf4AAAAAAAAAAAAAAAHoDAAAKQAAAAn6AAAAAAAAAAAAAAAH6QwAAAABAAAAAgAAAAQaQXBsb3Jpcy5CYXNlLlVJLlZpc3VhbExpbmUDAAAACgoB6gwAACgAAAAJ/gAAAAAAAAAAAAAAAesMAAApAAAACfoAAAAAAAAAAAAAAAfsDAAAAAEAAAACAAAABBpBcGxvcmlzLkJhc2UuVUkuVmlzdWFsTGluZQMAAAAKCgHtDAAAKAAAAAn+AAAAAAAAAAAAAAAB7gwAACkAAAAJ+gAAAAAAAAAAAAAAB+8MAAAAAQAAAAIAAAAEGkFwbG9yaXMuQmFzZS5VSS5WaXN1YWxMaW5lAwAAAAoKAfAMAAAoAAAACf4AAAAAAAAAAAAAAAHxDAAAKQAAAAn6AAAAAAAAAAAAAAAB8gwAAGMBAAAKWAIAAAHEEgAA6gIAAAIAAAABxRIAAOsCAAABAAAAAcYSAAAUAAAAb/FmQ6ZO80IAHdU/ODO1QQHHEgAA7QIAAAAAAAAAAKBAAAHIEgAAJAAAAIzGZ0OG+gRDAckSAABnAAAAAAAAAAAAbFu+sG3bwAnKEgAAAAAAAAnLEgAAAQAAAcwSAABqAAAAAAAAAAHNEgAAawAAAAAAMEEAAFBBAc4SAAAUAAAAt21iQ27b8kKWACJBSZIUQekmkT8GzxIAAAIyMQoJ0BIAAAn2AgAANAMAAP////8BAQoJ0RIAAAEACgAB8wwAAB4AAAAB0hIAACQAAABv8WNDuk0TQwHTEgAAJAAAAKmba0OmTu1CCdQSAAAJ1RIAAAAAAAAKAdYSAABrAAAAAAAAAAAAAAAB1xIAAGsAAAAAAAAAAAAAAAAAAAAB2BIAABQAAAAAAAAAAAAAAAAAAAAAAAAApAEAAP////8BAQoJ2RIAAAEACgAH9AwAAAABAAAAAgAAAAQaQXBsb3Jpcy5CYXNlLlVJLlZpc3VhbExpbmUDAAAACgoH9QwAAAABAAAAAwAAAAQVU3lzdGVtLkRyYXdpbmcuUG9pbnRGBAAAAAHaEgAAJAAAAIzGZ0OG+gRDAdsSAAAkAAAAb/FgQ4b6BEMB3BIAACQAAACpm25DhvoEQwf2DAAAAAEAAAADAAAABBdBcGxvcmlzLkJhc2UuQW5jaG9yTW9kZQMAAAAB3RIAAGcAAAAAAAAAAd4SAABnAAAAAgAAAAHfEgAAZwAAAAQAAAAB9wwAACgAAAAJ/gAAAAAAAAAAAAAAAfgMAAApAAAACeASAAACAAAABAAAAAf5DAAAAAEAAAACAAAABBpBcGxvcmlzLkJhc2UuVUkuVmlzdWFsTGluZQMAAAAKCgH6DAAAKAAAAAn+AAAAAAAAAAAAAAAB+wwAACkAAAAJ+gAAAAAAAAAAAAAAB/wMAAAAAQAAAAIAAAAEGkFwbG9yaXMuQmFzZS5VSS5WaXN1YWxMaW5lAwAAAAoKAf0MAAAoAAAACf4AAAAAAAAAAAAAAAH+DAAAKQAAAAn6AAAAAAAAAAAAAAAH/wwAAAABAAAAAgAAAAQaQXBsb3Jpcy5CYXNlLlVJLlZpc3VhbExpbmUDAAAACgoBAA0AACgAAAAJ/gAAAAAAAAAAAAAAAQENAAApAAAACfoAAAAAAAAAAAAAAAcCDQAAAAEAAAACAAAABBpBcGxvcmlzLkJhc2UuVUkuVmlzdWFsTGluZQMAAAAKCgEDDQAAKAAAAAn+AAAAAAAAAAAAAAABBA0AACkAAAAJ+gAAAAAAAAAAAAAABwUNAAAAAQAAAAIAAAAEGkFwbG9yaXMuQmFzZS5VSS5WaXN1YWxMaW5lAwAAAAoKAQYNAAAoAAAACf4AAAAAAAAAAAAAAAEHDQAAKQAAAAn6AAAAAAAAAAAAAAAHCA0AAAABAAAAAgAAAAQaQXBsb3Jpcy5CYXNlLlVJLlZpc3VhbExpbmUDAAAACgoBCQ0AACgAAAAJ/gAAAAAAAAAAAAAAAQoNAAApAAAACfoAAAAAAAAAAAAAAAcLDQAAAAEAAAACAAAABBpBcGxvcmlzLkJhc2UuVUkuVmlzdWFsTGluZQMAAAAKCgEMDQAAKAAAAAn+AAAAAAAAAAAAAAABDQ0AACkAAAAJ+gAAAAAAAAAAAAAABw4NAAAAAQAAAAIAAAAEGkFwbG9yaXMuQmFzZS5VSS5WaXN1YWxMaW5lAwAAAAoKAQ8NAAAoAAAACf4AAAAAAAAAAAAAAAEQDQAAKQAAAAn6AAAAAAAAAAAAAAAHEQ0AAAABAAAAAgAAAAQaQXBsb3Jpcy5CYXNlLlVJLlZpc3VhbExpbmUDAAAACgoBEg0AACgAAAAJ/gAAAAAAAAAAAAAAARMNAAApAAAACfoAAAAAAAAAAAAAAAcUDQAAAAEAAAACAAAABBpBcGxvcmlzLkJhc2UuVUkuVmlzdWFsTGluZQMAAAAKCgEVDQAAKAAAAAn+AAAAAAAAAAAAAAABFg0AACkAAAAJ+gAAAAAAAAAAAAAABxcNAAAAAQAAAAIAAAAEGkFwbG9yaXMuQmFzZS5VSS5WaXN1YWxMaW5lAwAAAAoKARgNAAAoAAAACf4AAAAAAAAAAAAAAAEZDQAAKQAAAAn6AAAAAAAAAAAAAAAHGg0AAAABAAAAAgAAAAQaQXBsb3Jpcy5CYXNlLlVJLlZpc3VhbExpbmUDAAAACgoBGw0AACgAAAAJ/gAAAAAAAAAAAAAAARwNAAApAAAACfoAAAAAAAAAAAAAAAcdDQAAAAEAAAACAAAABBpBcGxvcmlzLkJhc2UuVUkuVmlzdWFsTGluZQMAAAAKCgEeDQAAKAAAAAn+AAAAAAAAAAAAAAABHw0AACkAAAAJ+gAAAAAAAAAAAAAAByANAAAAAQAAAAIAAAAEGkFwbG9yaXMuQmFzZS5VSS5WaXN1YWxMaW5lAwAAAAoKASENAAAoAAAACf4AAAAAAAAAAAAAAAEiDQAAKQAAAAn6AAAAAAAAAAAAAAAHIw0AAAABAAAAAgAAAAQaQXBsb3Jpcy5CYXNlLlVJLlZpc3VhbExpbmUDAAAACgoBJA0AACgAAAAJ/gAAAAAAAAAAAAAAASUNAAApAAAACfoAAAAAAAAAAAAAAAcmDQAAAAEAAAACAAAABBpBcGxvcmlzLkJhc2UuVUkuVmlzdWFsTGluZQMAAAAKCgEnDQAAKAAAAAn+AAAAAAAAAAAAAAABKA0AACkAAAAJ+gAAAAAAAAAAAAAABykNAAAAAQAAAAIAAAAEGkFwbG9yaXMuQmFzZS5VSS5WaXN1YWxMaW5lAwAAAAoKASoNAAAoAAAACf4AAAAAAAAAAAAAAAErDQAAKQAAAAn6AAAAAAAAAAAAAAAHLA0AAAABAAAAAgAAAAQaQXBsb3Jpcy5CYXNlLlVJLlZpc3VhbExpbmUDAAAACgoBLQ0AACgAAAAJ/gAAAAAAAAAAAAAAAS4NAAApAAAACfoAAAAAAAAAAAAAAAcvDQAAAAEAAAACAAAABBpBcGxvcmlzLkJhc2UuVUkuVmlzdWFsTGluZQMAAAAKCgEwDQAAKAAAAAn+AAAAAAAAAAAAAAABMQ0AACkAAAAJ+gAAAAAAAAAAAAAABzINAAAAAQAAAAIAAAAEGkFwbG9yaXMuQmFzZS5VSS5WaXN1YWxMaW5lAwAAAAoKATMNAAAoAAAACf4AAAAAAAAAAAAAAAE0DQAAKQAAAAn6AAAAAAAAAAAAAAABNQ0AAGMBAAAKWAIAAAHhEgAA6gIAAAIAAAAB4hIAAOsCAAABAAAAAeMSAAAUAAAAqZtuQzF++0KAPLQ/DHWUQQHkEgAA7QIAAAAAAAAAAKBAAAHlEgAAJAAAAOZPb0NpBgdDAeYSAABnAAAAAAAAAAAAAAAAAAAAPwnnEgAAAAAAAAnoEgAAAQAAAekSAABqAAAAAAAAAAHqEgAAawAAAAAAMEEAAFBBAesSAAAUAAAAJUlqQ9y2AkOWACJBSZIUQekmkT8G7BIAAAIxOAoJ7RIAAAn2AgAANAMAAP////8BAQoJ7hIAAAEACgABNg0AAB4AAAAB7xIAACQAAACpm2tDuk0TQwHwEgAAJAAAACIEc0MxfvVCCfESAAAJ8hIAAAAAAAAKAfMSAABrAAAAAAAAAAAAAAAB9BIAAGsAAAAAAAAAAAAAAAAAAAAB9RIAABQAAAAAAAAAAAAAAAAAAAAAAAAApAEAAP////8BAQoJ9hIAAAEACgAHNw0AAAABAAAAAgAAAAQaQXBsb3Jpcy5CYXNlLlVJLlZpc3VhbExpbmUDAAAACgoHOA0AAAABAAAAAwAAAAQVU3lzdGVtLkRyYXdpbmcuUG9pbnRGBAAAAAH3EgAAJAAAAOZPb0NpBgdDAfgSAAAkAAAAqptoQ2kGB0MB+RIAACQAAAAiBHZDaQYHQwc5DQAAAAEAAAADAAAABBdBcGxvcmlzLkJhc2UuQW5jaG9yTW9kZQMAAAAB+hIAAGcAAAAAAAAAAfsSAABnAAAAAgAAAAH8EgAAZwAAAAQAAAABOg0AACgAAAAJ/gAAAAAAAAAAAAAAATsNAAApAAAACf0SAAACAAAAAgAAAAc8DQAAAAEAAAACAAAABBpBcGxvcmlzLkJhc2UuVUkuVmlzdWFsTGluZQMAAAAKCgE9DQAAKAAAAAn+AAAAAAAAAAAAAAABPg0AACkAAAAJ+gAAAAAAAAAAAAAABz8NAAAAAQAAAAIAAAAEGkFwbG9yaXMuQmFzZS5VSS5WaXN1YWxMaW5lAwAAAAoKAUANAAAoAAAACf4AAAAAAAAAAAAAAAFBDQAAKQAAAAn6AAAAAAAAAAAAAAAHQg0AAAABAAAAAgAAAAQaQXBsb3Jpcy5CYXNlLlVJLlZpc3VhbExpbmUDAAAACgoBQw0AACgAAAAJ/gAAAAAAAAAAAAAAAUQNAAApAAAACfoAAAAAAAAAAAAAAAdFDQAAAAEAAAACAAAABBpBcGxvcmlzLkJhc2UuVUkuVmlzdWFsTGluZQMAAAAKCgFGDQAAKAAAAAn+AAAAAAAAAAAAAAABRw0AACkAAAAJ+gAAAAAAAAAAAAAAB0gNAAAAAQAAAAIAAAAEGkFwbG9yaXMuQmFzZS5VSS5WaXN1YWxMaW5lAwAAAAoKAUkNAAAoAAAACf4AAAAAAAAAAAAAAAFKDQAAKQAAAAn6AAAAAAAAAAAAAAAHSw0AAAABAAAAAgAAAAQaQXBsb3Jpcy5CYXNlLlVJLlZpc3VhbExpbmUDAAAACgoBTA0AACgAAAAJ/gAAAAAAAAAAAAAAAU0NAAApAAAACfoAAAAAAAAAAAAAAAdODQAAAAEAAAACAAAABBpBcGxvcmlzLkJhc2UuVUkuVmlzdWFsTGluZQMAAAAKCgFPDQAAKAAAAAn+AAAAAAAAAAAAAAABUA0AACkAAAAJ+gAAAAAAAAAAAAAAB1ENAAAAAQAAAAIAAAAEGkFwbG9yaXMuQmFzZS5VSS5WaXN1YWxMaW5lAwAAAAoKAVINAAAoAAAACf4AAAAAAAAAAAAAAAFTDQAAKQAAAAn6AAAAAAAAAAAAAAAHVA0AAAABAAAAAgAAAAQaQXBsb3Jpcy5CYXNlLlVJLlZpc3VhbExpbmUDAAAACgoBVQ0AACgAAAAJ/gAAAAAAAAAAAAAAAVYNAAApAAAACfoAAAAAAAAAAAAAAAdXDQAAAAEAAAACAAAABBpBcGxvcmlzLkJhc2UuVUkuVmlzdWFsTGluZQMAAAAKCgFYDQAAKAAAAAn+AAAAAAAAAAAAAAABWQ0AACkAAAAJ+gAAAAAAAAAAAAAAB1oNAAAAAQAAAAIAAAAEGkFwbG9yaXMuQmFzZS5VSS5WaXN1YWxMaW5lAwAAAAoKAVsNAAAoAAAACf4AAAAAAAAAAAAAAAFcDQAAKQAAAAn6AAAAAAAAAAAAAAAHXQ0AAAABAAAAAgAAAAQaQXBsb3Jpcy5CYXNlLlVJLlZpc3VhbExpbmUDAAAACgoBXg0AACgAAAAJ/gAAAAAAAAAAAAAAAV8NAAApAAAACfoAAAAAAAAAAAAAAAdgDQAAAAEAAAACAAAABBpBcGxvcmlzLkJhc2UuVUkuVmlzdWFsTGluZQMAAAAKCgFhDQAAKAAAAAn+AAAAAAAAAAAAAAABYg0AACkAAAAJ+gAAAAAAAAAAAAAAB2MNAAAAAQAAAAIAAAAEGkFwbG9yaXMuQmFzZS5VSS5WaXN1YWxMaW5lAwAAAAoKAWQNAAAoAAAACf4AAAAAAAAAAAAAAAFlDQAAKQAAAAn6AAAAAAAAAAAAAAAHZg0AAAABAAAAAgAAAAQaQXBsb3Jpcy5CYXNlLlVJLlZpc3VhbExpbmUDAAAACgoBZw0AACgAAAAJ/gAAAAAAAAAAAAAAAWgNAAApAAAACfoAAAAAAAAAAAAAAAdpDQAAAAEAAAACAAAABBpBcGxvcmlzLkJhc2UuVUkuVmlzdWFsTGluZQMAAAAKCgFqDQAAKAAAAAn+AAAAAAAAAAAAAAABaw0AACkAAAAJ+gAAAAAAAAAAAAAAAWwNAABjAQAAClgCAAAB/hIAAOoCAAACAAAAAf8SAADrAgAAAQAAAAEAEwAAFAAAABQ+skIMNeBCLpSnQtDMAEIBARMAAO0CAAAAAAAAAACgQAABAhMAACQAAAAWBANDIDQAQwEDEwAAZwAAAAAAAAAAAAAAAAAAAAAJBBMAAAAAAAAJBRMAAAAAAAEGEwAAagAAAAAAAAABBxMAAGsAAAAAADBBAABQQQEIEwAAFAAAALdt+0KTJPdClgAiQUmSFEHpJpE/BgkTAAACMjgKCQoTAAAJ9gIAADQDAAD/////AQEKCQsTAAABAAoAAW0NAAAeAAAAAQwTAAAkAAAAFD6sQrpNE0MBDRMAACQAAAAh6S9DDDXaQgkOEwAACQ8TAAAAAAAACgEQEwAAawAAAAAAAAAAAAAAARETAABrAAAAAAAAAAAAAAAAAAAAARITAAAUAAAAAAAAAAAAAAAAAAAAAAAAAKQBAAD/////AQEKCRMTAAABAAoAB24NAAAAAQAAAAIAAAAEGkFwbG9yaXMuQmFzZS5VSS5WaXN1YWxMaW5lAwAAAAoKB28NAAAAAQAAAAMAAAAEFVN5c3RlbS5EcmF3aW5nLlBvaW50RgQAAAABFBMAACQAAAAWBANDIDQAQwEVEwAAJAAAABU+pkIgNABDARYTAAAkAAAAIukyQyA0AEMHcA0AAAABAAAAAwAAAAQXQXBsb3Jpcy5CYXNlLkFuY2hvck1vZGUDAAAAARcTAABnAAAAAAAAAAEYEwAAZwAAAAIAAAABGRMAAGcAAAAEAAAAAXENAAAoAAAACf4AAAAAAAAAAAAAAAFyDQAAKQAAAAkaEwAAAgAAAAIAAAAHcw0AAAABAAAAAgAAAAQaQXBsb3Jpcy5CYXNlLlVJLlZpc3VhbExpbmUDAAAACgoBdA0AACgAAAAJ/gAAAAAAAAAAAAAAAXUNAAApAAAACfoAAAAAAAAAAAAAAAd2DQAAAAEAAAACAAAABBpBcGxvcmlzLkJhc2UuVUkuVmlzdWFsTGluZQMAAAAKCgF3DQAAKAAAAAn+AAAAAAAAAAAAAAABeA0AACkAAAAJ+gAAAAAAAAAAAAAAB3kNAAAAAQAAAAIAAAAEGkFwbG9yaXMuQmFzZS5VSS5WaXN1YWxMaW5lAwAAAAoKAXoNAAAoAAAACf4AAAAAAAAAAAAAAAF7DQAAKQAAAAn6AAAAAAAAAAAAAAAHfA0AAAABAAAAAgAAAAQaQXBsb3Jpcy5CYXNlLlVJLlZpc3VhbExpbmUDAAAACgoBfQ0AACgAAAAJ/gAAAAAAAAAAAAAAAX4NAAApAAAACfoAAAAAAAAAAAAAAAd/DQAAAAEAAAACAAAABBpBcGxvcmlzLkJhc2UuVUkuVmlzdWFsTGluZQMAAAAKCgGADQAAKAAAAAn+AAAAAAAAAAAAAAABgQ0AACkAAAAJ+gAAAAAAAAAAAAAAB4INAAAAAQAAAAIAAAAEGkFwbG9yaXMuQmFzZS5VSS5WaXN1YWxMaW5lAwAAAAoKAYMNAAAoAAAACf4AAAAAAAAAAAAAAAGEDQAAKQAAAAn6AAAAAAAAAAAAAAAHhQ0AAAABAAAAAgAAAAQaQXBsb3Jpcy5CYXNlLlVJLlZpc3VhbExpbmUDAAAACgoBhg0AACgAAAAJ/gAAAAAAAAAAAAAAAYcNAAApAAAACfoAAAAAAAAAAAAAAAeIDQAAAAEAAAACAAAABBpBcGxvcmlzLkJhc2UuVUkuVmlzdWFsTGluZQMAAAAKCgGJDQAAKAAAAAn+AAAAAAAAAAAAAAABig0AACkAAAAJ+gAAAAAAAAAAAAAAB4sNAAAAAQAAAAIAAAAEGkFwbG9yaXMuQmFzZS5VSS5WaXN1YWxMaW5lAwAAAAoKAYwNAAAoAAAACf4AAAAAAAAAAAAAAAGNDQAAKQAAAAn6AAAAAAAAAAAAAAAHjg0AAAABAAAAAgAAAAQaQXBsb3Jpcy5CYXNlLlVJLlZpc3VhbExpbmUDAAAACgoBjw0AACgAAAAJ/gAAAAAAAAAAAAAAAZANAAApAAAACfoAAAAAAAAAAAAAAAeRDQAAAAEAAAACAAAABBpBcGxvcmlzLkJhc2UuVUkuVmlzdWFsTGluZQMAAAAKCgGSDQAAKAAAAAn+AAAAAAAAAAAAAAABkw0AACkAAAAJ+gAAAAAAAAAAAAAAB5QNAAAAAQAAAAIAAAAEGkFwbG9yaXMuQmFzZS5VSS5WaXN1YWxMaW5lAwAAAAoKAZUNAAAoAAAACf4AAAAAAAAAAAAAAAGWDQAAKQAAAAn6AAAAAAAAAAAAAAAHlw0AAAABAAAAAgAAAAQaQXBsb3Jpcy5CYXNlLlVJLlZpc3VhbExpbmUDAAAACgoBmA0AACgAAAAJ/gAAAAAAAAAAAAAAAZkNAAApAAAACfoAAAAAAAAAAAAAAAeaDQAAAAEAAAACAAAABBpBcGxvcmlzLkJhc2UuVUkuVmlzdWFsTGluZQMAAAAKCgGbDQAAKAAAAAn+AAAAAAAAAAAAAAABnA0AACkAAAAJ+gAAAAAAAAAAAAAAB50NAAAAAQAAAAIAAAAEGkFwbG9yaXMuQmFzZS5VSS5WaXN1YWxMaW5lAwAAAAoKAZ4NAAAoAAAACf4AAAAAAAAAAAAAAAGfDQAAKQAAAAn6AAAAAAAAAAAAAAAHoA0AAAABAAAAAgAAAAQaQXBsb3Jpcy5CYXNlLlVJLlZpc3VhbExpbmUDAAAACgoBoQ0AACgAAAAJ/gAAAAAAAAAAAAAAAaINAAApAAAACfoAAAAAAAAAAAAAAAejDQAAAAEAAAACAAAABBpBcGxvcmlzLkJhc2UuVUkuVmlzdWFsTGluZQMAAAAKCgGkDQAAKAAAAAn+AAAAAAAAAAAAAAABpQ0AACkAAAAJ+gAAAAAAAAAAAAAAB6YNAAAAAQAAAAIAAAAEGkFwbG9yaXMuQmFzZS5VSS5WaXN1YWxMaW5lAwAAAAoKAacNAAAoAAAACf4AAAAAAAAAAAAAAAGoDQAAKQAAAAn6AAAAAAAAAAAAAAAHqQ0AAAABAAAAAgAAAAQaQXBsb3Jpcy5CYXNlLlVJLlZpc3VhbExpbmUDAAAACgoBqg0AACgAAAAJ/gAAAAAAAAAAAAAAAasNAAApAAAACfoAAAAAAAAAAAAAAAesDQAAAAEAAAACAAAABBpBcGxvcmlzLkJhc2UuVUkuVmlzdWFsTGluZQMAAAAKCgGtDQAAKAAAAAn+AAAAAAAAAAAAAAABrg0AACkAAAAJ+gAAAAAAAAAAAAAAB68NAAAAAQAAAAIAAAAEGkFwbG9yaXMuQmFzZS5VSS5WaXN1YWxMaW5lAwAAAAoKAbANAAAoAAAACf4AAAAAAAAAAAAAAAGxDQAAKQAAAAn6AAAAAAAAAAAAAAAHsg0AAAABAAAAAgAAAAQaQXBsb3Jpcy5CYXNlLlVJLlZpc3VhbExpbmUDAAAACgoBsw0AACgAAAAJ/gAAAAAAAAAAAAAAAbQNAAApAAAACfoAAAAAAAAAAAAAAAe1DQAAAAEAAAACAAAABBpBcGxvcmlzLkJhc2UuVUkuVmlzdWFsTGluZQMAAAAKCgG2DQAAKAAAAAn+AAAAAAAAAAAAAAABtw0AACkAAAAJ+gAAAAAAAAAAAAAAB7gNAAAAAQAAAAIAAAAEGkFwbG9yaXMuQmFzZS5VSS5WaXN1YWxMaW5lAwAAAAoKAbkNAAAoAAAACf4AAAAAAAAAAAAAAAG6DQAAKQAAAAn6AAAAAAAAAAAAAAAHuw0AAAABAAAAAgAAAAQaQXBsb3Jpcy5CYXNlLlVJLlZpc3VhbExpbmUDAAAACgoBvA0AACgAAAAJ/gAAAAAAAAAAAAAAAb0NAAApAAAACfoAAAAAAAAAAAAAAAe+DQAAAAEAAAACAAAABBpBcGxvcmlzLkJhc2UuVUkuVmlzdWFsTGluZQMAAAAKCgG/DQAAKAAAAAn+AAAAAAAAAAAAAAABwA0AACkAAAAJ+gAAAAAAAAAAAAAAB8ENAAAAAQAAAAIAAAAEGkFwbG9yaXMuQmFzZS5VSS5WaXN1YWxMaW5lAwAAAAoKAcINAAAoAAAACf4AAAAAAAAAAAAAAAHDDQAAKQAAAAn6AAAAAAAAAAAAAAAHxA0AAAABAAAAAgAAAAQaQXBsb3Jpcy5CYXNlLlVJLlZpc3VhbExpbmUDAAAACgoBxQ0AACgAAAAJ/gAAAAAAAAAAAAAAAcYNAAApAAAACfoAAAAAAAAAAAAAAAfHDQAAAAEAAAACAAAABBpBcGxvcmlzLkJhc2UuVUkuVmlzdWFsTGluZQMAAAAKCgHIDQAAKAAAAAn+AAAAAAAAAAAAAAAByQ0AACkAAAAJ+gAAAAAAAAAAAAAAB8oNAAAAAQAAAAIAAAAEGkFwbG9yaXMuQmFzZS5VSS5WaXN1YWxMaW5lAwAAAAoKAcsNAAAoAAAACf4AAAAAAAAAAAAAAAHMDQAAKQAAAAn6AAAAAAAAAAAAAAAHzQ0AAAABAAAAAgAAAAQaQXBsb3Jpcy5CYXNlLlVJLlZpc3VhbExpbmUDAAAACgoBzg0AACgAAAAJ/gAAAAAAAAAAAAAAAc8NAAApAAAACfoAAAAAAAAAAAAAAAHQDQAAYwEAAApYAgAAARsTAADqAgAAAgAAAAEcEwAA6wIAAAEAAAABHRMAABQAAADwed1DcXsPQwA+0EIASVI/AR4TAADtAgAAAAAAAAAAoEAAAR8TAAAkAAAAsIH3Q5bkD0MBIBMAAGcAAAAAAAAAAAAAAAAAAAAACSETAAAAAAAACSITAAABAAABIxMAAGoAAAAAAAAAASQTAABrAAAAAACgQAAAUEEBJRMAABQAAABJEvZDJUkLQ5ncukBJkhRB6SaRPwYmEwAAATUKCScTAAAJ9gIAADQDAAD/////AQEKCSgTAAABAAoAAdENAAAeAAAAASkTAAAkAAAA8PnbQ7pNE0MBKhMAACQAAAC4hAlEcXsMQwkrEwAACSwTAAAAAAAACgEtEwAAawAAAAAAAAAAAAAAAS4TAABrAAAAAAAAAAAAAAAAAAAAAS8TAAAUAAAAAAAAAAAAAAAAAAAAAAAAAKQBAAD/////AQEKCTATAAABAAoAB9INAAAAAQAAAAIAAAAEGkFwbG9yaXMuQmFzZS5VSS5WaXN1YWxMaW5lAwAAAAoKB9MNAAAAAQAAAAMAAAAEFVN5c3RlbS5EcmF3aW5nLlBvaW50RgQAAAABMRMAACQAAACwgfdDluQPQwEyEwAAJAAAAPB52kOW5A9DATMTAAAkAAAAuEQKRJbkD0MH1A0AAAABAAAAAwAAAAQXQXBsb3Jpcy5CYXNlLkFuY2hvck1vZGUDAAAAATQTAABnAAAAAAAAAAE1EwAAZwAAAAIAAAABNhMAAGcAAAAEAAAAAdUNAAAoAAAACf4AAAAAAAAAAAAAAAHWDQAAKQAAAAk3EwAAAgAAAAIAAAAH1w0AAAABAAAAAgAAAAQaQXBsb3Jpcy5CYXNlLlVJLlZpc3VhbExpbmUDAAAACgoB2A0AACgAAAAJ/gAAAAAAAAAAAAAAAdkNAAApAAAACfoAAAAAAAAAAAAAAAfaDQAAAAEAAAACAAAABBpBcGxvcmlzLkJhc2UuVUkuVmlzdWFsTGluZQMAAAAKCgHbDQAAKAAAAAn+AAAAAAAAAAAAAAAB3A0AACkAAAAJ+gAAAAAAAAAAAAAAB90NAAAAAQAAAAIAAAAEGkFwbG9yaXMuQmFzZS5VSS5WaXN1YWxMaW5lAwAAAAoKAd4NAAAoAAAACf4AAAAAAAAAAAAAAAHfDQAAKQAAAAn6AAAAAAAAAAAAAAAH4A0AAAABAAAAAgAAAAQaQXBsb3Jpcy5CYXNlLlVJLlZpc3VhbExpbmUDAAAACgoB4Q0AACgAAAAJ/gAAAAAAAAAAAAAAAeINAAApAAAACfoAAAAAAAAAAAAAAAfjDQAAAAEAAAACAAAABBpBcGxvcmlzLkJhc2UuVUkuVmlzdWFsTGluZQMAAAAKCgHkDQAAKAAAAAn+AAAAAAAAAAAAAAAB5Q0AACkAAAAJ+gAAAAAAAAAAAAAAB+YNAAAAAQAAAAIAAAAEGkFwbG9yaXMuQmFzZS5VSS5WaXN1YWxMaW5lAwAAAAoKAecNAAAoAAAACf4AAAAAAAAAAAAAAAHoDQAAKQAAAAn6AAAAAAAAAAAAAAAH6Q0AAAABAAAAAgAAAAQaQXBsb3Jpcy5CYXNlLlVJLlZpc3VhbExpbmUDAAAACgoB6g0AACgAAAAJ/gAAAAAAAAAAAAAAAesNAAApAAAACfoAAAAAAAAAAAAAAAfsDQAAAAEAAAACAAAABBpBcGxvcmlzLkJhc2UuVUkuVmlzdWFsTGluZQMAAAAKCgHtDQAAKAAAAAn+AAAAAAAAAAAAAAAB7g0AACkAAAAJ+gAAAAAAAAAAAAAAB+8NAAAAAQAAAAIAAAAEGkFwbG9yaXMuQmFzZS5VSS5WaXN1YWxMaW5lAwAAAAoKAfANAAAoAAAACf4AAAAAAAAAAAAAAAHxDQAAKQAAAAn6AAAAAAAAAAAAAAAH8g0AAAABAAAAAgAAAAQaQXBsb3Jpcy5CYXNlLlVJLlZpc3VhbExpbmUDAAAACgoB8w0AACgAAAAJ/gAAAAAAAAAAAAAAAfQNAAApAAAACfoAAAAAAAAAAAAAAAf1DQAAAAEAAAACAAAABBpBcGxvcmlzLkJhc2UuVUkuVmlzdWFsTGluZQMAAAAKCgH2DQAAKAAAAAn+AAAAAAAAAAAAAAAB9w0AACkAAAAJ+gAAAAAAAAAAAAAAB/gNAAAAAQAAAAIAAAAEGkFwbG9yaXMuQmFzZS5VSS5WaXN1YWxMaW5lAwAAAAoKAfkNAAAoAAAACf4AAAAAAAAAAAAAAAH6DQAAKQAAAAn6AAAAAAAAAAAAAAAH+w0AAAABAAAAAgAAAAQaQXBsb3Jpcy5CYXNlLlVJLlZpc3VhbExpbmUDAAAACgoB/A0AACgAAAAJ/gAAAAAAAAAAAAAAAf0NAAApAAAACfoAAAAAAAAAAAAAAAf+DQAAAAEAAAACAAAABBpBcGxvcmlzLkJhc2UuVUkuVmlzdWFsTGluZQMAAAAKCgH/DQAAKAAAAAn+AAAAAAAAAAAAAAABAA4AACkAAAAJ+gAAAAAAAAAAAAAABwEOAAAAAQAAAAIAAAAEGkFwbG9yaXMuQmFzZS5VSS5WaXN1YWxMaW5lAwAAAAoKAQIOAAAoAAAACf4AAAAAAAAAAAAAAAEDDgAAKQAAAAn6AAAAAAAAAAAAAAAHBA4AAAABAAAAAgAAAAQaQXBsb3Jpcy5CYXNlLlVJLlZpc3VhbExpbmUDAAAACgoBBQ4AACgAAAAJ/gAAAAAAAAAAAAAAAQYOAAApAAAACfoAAAAAAAAAAAAAAAEHDgAAYwEAAApYAgAAATgTAADqAgAAAgAAAAE5EwAA6wIAAAEAAAABOhMAABQAAADulMND7cAMQyDzCEFAM2NAATsTAADtAgAAAAAAAAAAoEAAATwTAAAkAAAAurjFQ1SHDkMBPRMAAGcAAAAAAAAAAAAAAAAAAAAACT4TAAAAAAAACT8TAAAAAAABQBMAAGoAAAAAAAAAAUETAABrAAAAAACgQAAAUEEBQhMAABQAAAC3bcRDbtsJQ5ncukBJkhRB6SaRPwZDEwAAATcKCUQTAAAJ9gIAADQDAAD/////AQEKCUUTAAABAAoAAQgOAAAeAAAAAUYTAAAkAAAA7hTCQ7pNE0MBRxMAACQAAACHXMlD7cAJQwlIEwAACUkTAAAAAAAACgFKEwAAawAAAAAAAAAAAAAAAUsTAABrAAAAAAAAAAAAAAAAAAAAAUwTAAAUAAAAAAAAAAAAAAAAAAAAAAAAAKQBAAD/////AQEKCU0TAAABAAoABwkOAAAAAQAAAAIAAAAEGkFwbG9yaXMuQmFzZS5VSS5WaXN1YWxMaW5lAwAAAAoKBwoOAAAAAQAAAAMAAAAEFVN5c3RlbS5EcmF3aW5nLlBvaW50RgQAAAABThMAACQAAAC6uMVDVIcOQwFPEwAAJAAAAO6UwENUhw5DAVATAAAkAAAAhtzKQ1SHDkMHCw4AAAABAAAAAwAAAAQXQXBsb3Jpcy5CYXNlLkFuY2hvck1vZGUDAAAAAVETAABnAAAAAAAAAAFSEwAAZwAAAAIAAAABUxMAAGcAAAAEAAAAAQwOAAAoAAAACf4AAAAAAAAAAAAAAAENDgAAKQAAAAlUEwAAAgAAAAIAAAAHDg4AAAABAAAAAgAAAAQaQXBsb3Jpcy5CYXNlLlVJLlZpc3VhbExpbmUDAAAACgoBDw4AACgAAAAJ/gAAAAAAAAAAAAAAARAOAAApAAAACfoAAAAAAAAAAAAAAAcRDgAAAAEAAAACAAAABBpBcGxvcmlzLkJhc2UuVUkuVmlzdWFsTGluZQMAAAAKCgESDgAAKAAAAAn+AAAAAAAAAAAAAAABEw4AACkAAAAJ+gAAAAAAAAAAAAAABxQOAAAAAQAAAAIAAAAEGkFwbG9yaXMuQmFzZS5VSS5WaXN1YWxMaW5lAwAAAAoKARUOAAAoAAAACf4AAAAAAAAAAAAAAAEWDgAAKQAAAAn6AAAAAAAAAAAAAAAHFw4AAAABAAAAAgAAAAQaQXBsb3Jpcy5CYXNlLlVJLlZpc3VhbExpbmUDAAAACgoBGA4AACgAAAAJ/gAAAAAAAAAAAAAAARkOAAApAAAACfoAAAAAAAAAAAAAAAcaDgAAAAEAAAACAAAABBpBcGxvcmlzLkJhc2UuVUkuVmlzdWFsTGluZQMAAAAKCgEbDgAAKAAAAAn+AAAAAAAAAAAAAAABHA4AACkAAAAJ+gAAAAAAAAAAAAAABx0OAAAAAQAAAAIAAAAEGkFwbG9yaXMuQmFzZS5VSS5WaXN1YWxMaW5lAwAAAAoKAR4OAAAoAAAACf4AAAAAAAAAAAAAAAEfDgAAKQAAAAn6AAAAAAAAAAAAAAAHIA4AAAABAAAAAgAAAAQaQXBsb3Jpcy5CYXNlLlVJLlZpc3VhbExpbmUDAAAACgoBIQ4AACgAAAAJ/gAAAAAAAAAAAAAAASIOAAApAAAACfoAAAAAAAAAAAAAAAcjDgAAAAEAAAACAAAABBpBcGxvcmlzLkJhc2UuVUkuVmlzdWFsTGluZQMAAAAKCgEkDgAAKAAAAAn+AAAAAAAAAAAAAAABJQ4AACkAAAAJ+gAAAAAAAAAAAAAAByYOAAAAAQAAAAIAAAAEGkFwbG9yaXMuQmFzZS5VSS5WaXN1YWxMaW5lAwAAAAoKAScOAAAoAAAACf4AAAAAAAAAAAAAAAEoDgAAKQAAAAn6AAAAAAAAAAAAAAAHKQ4AAAABAAAAAgAAAAQaQXBsb3Jpcy5CYXNlLlVJLlZpc3VhbExpbmUDAAAACgoBKg4AACgAAAAJ/gAAAAAAAAAAAAAAASsOAAApAAAACfoAAAAAAAAAAAAAAAcsDgAAAAEAAAACAAAABBpBcGxvcmlzLkJhc2UuVUkuVmlzdWFsTGluZQMAAAAKCgEtDgAAKAAAAAn+AAAAAAAAAAAAAAABLg4AACkAAAAJ+gAAAAAAAAAAAAAABy8OAAAAAQAAAAIAAAAEGkFwbG9yaXMuQmFzZS5VSS5WaXN1YWxMaW5lAwAAAAoKATAOAAAoAAAACf4AAAAAAAAAAAAAAAExDgAAKQAAAAn6AAAAAAAAAAAAAAAHMg4AAAABAAAAAgAAAAQaQXBsb3Jpcy5CYXNlLlVJLlZpc3VhbExpbmUDAAAACgoBMw4AACgAAAAJ/gAAAAAAAAAAAAAAATQOAAApAAAACfoAAAAAAAAAAAAAAAc1DgAAAAEAAAACAAAABBpBcGxvcmlzLkJhc2UuVUkuVmlzdWFsTGluZQMAAAAKCgE2DgAAKAAAAAn+AAAAAAAAAAAAAAABNw4AACkAAAAJ+gAAAAAAAAAAAAAABzgOAAAAAQAAAAIAAAAEGkFwbG9yaXMuQmFzZS5VSS5WaXN1YWxMaW5lAwAAAAoKATkOAAAoAAAACf4AAAAAAAAAAAAAAAE6DgAAKQAAAAn6AAAAAAAAAAAAAAAHOw4AAAABAAAAAgAAAAQaQXBsb3Jpcy5CYXNlLlVJLlZpc3VhbExpbmUDAAAACgoBPA4AACgAAAAJ/gAAAAAAAAAAAAAAAT0OAAApAAAACfoAAAAAAAAAAAAAAAc+DgAAAAEAAAACAAAABBpBcGxvcmlzLkJhc2UuVUkuVmlzdWFsTGluZQMAAAAKCgE/DgAAKAAAAAn+AAAAAAAAAAAAAAABQA4AACkAAAAJ+gAAAAAAAAAAAAAAB0EOAAAAAQAAAAIAAAAEGkFwbG9yaXMuQmFzZS5VSS5WaXN1YWxMaW5lAwAAAAoKAUIOAAAoAAAACf4AAAAAAAAAAAAAAAFDDgAAKQAAAAn6AAAAAAAAAAAAAAAHRA4AAAABAAAAAgAAAAQaQXBsb3Jpcy5CYXNlLlVJLlZpc3VhbExpbmUDAAAACgoBRQ4AACgAAAAJ/gAAAAAAAAAAAAAAAUYOAAApAAAACfoAAAAAAAAAAAAAAAFHDgAAYwEAAApYAgAAAVUTAADqAgAAAgAAAAFWEwAA6wIAAAEAAAABVxMAABQAAADulMNDagYHQyDzCEEAAAAAAVgTAADtAgAAAAAAAAAAoEAAAVkTAAAkAAAAurjFQ2oGB0MBWhMAAGcAAAAAAAAAAAAAAAAAAAAACVsTAAAAAAAACVwTAAABAAABXRMAAGoAAAAAAAAAAV4TAABrAAAAAACgQAAAUEEBXxMAABQAAAC3bcRD3LYCQ5ncukBJkhRB6SaRPwZgEwAAATQKCWETAAAJ9gIAADQDAAD/////AQEKCWITAAABAAoAAUgOAAAeAAAAAWMTAAAkAAAA7hTCQ+3ACUMBZBMAACQAAACHXMlD5ksEQwllEwAACWYTAAAAAAAACgFnEwAAawAAAAAAAAAAAAAAAWgTAABrAAAAAAAAAAAAAAAAAAAAAWkTAAAUAAAAAAAAAAAAAAAAAAAAAAAAAKQBAAD/////AQEKCWoTAAABAAoAB0kOAAAAAQAAAAIAAAAEGkFwbG9yaXMuQmFzZS5VSS5WaXN1YWxMaW5lAwAAAAoKB0oOAAAAAQAAAAMAAAAEFVN5c3RlbS5EcmF3aW5nLlBvaW50RgQAAAABaxMAACQAAAC6uMVDagYHQwFsEwAAJAAAAO6UwENqBgdDAW0TAAAkAAAAhtzKQ2oGB0MHSw4AAAABAAAAAwAAAAQXQXBsb3Jpcy5CYXNlLkFuY2hvck1vZGUDAAAAAW4TAABnAAAAAAAAAAFvEwAAZwAAAAIAAAABcBMAAGcAAAAEAAAAAUwOAAAoAAAACf4AAAAAAAAAAAAAAAFNDgAAKQAAAAlxEwAAAgAAAAIAAAAHTg4AAAABAAAAAgAAAAQaQXBsb3Jpcy5CYXNlLlVJLlZpc3VhbExpbmUDAAAACgoBTw4AACgAAAAJ/gAAAAAAAAAAAAAAAVAOAAApAAAACfoAAAAAAAAAAAAAAAdRDgAAAAEAAAACAAAABBpBcGxvcmlzLkJhc2UuVUkuVmlzdWFsTGluZQMAAAAKCgFSDgAAKAAAAAn+AAAAAAAAAAAAAAABUw4AACkAAAAJ+gAAAAAAAAAAAAAAB1QOAAAAAQAAAAIAAAAEGkFwbG9yaXMuQmFzZS5VSS5WaXN1YWxMaW5lAwAAAAoKAVUOAAAoAAAACf4AAAAAAAAAAAAAAAFWDgAAKQAAAAn6AAAAAAAAAAAAAAAHVw4AAAABAAAAAgAAAAQaQXBsb3Jpcy5CYXNlLlVJLlZpc3VhbExpbmUDAAAACgoBWA4AACgAAAAJ/gAAAAAAAAAAAAAAAVkOAAApAAAACfoAAAAAAAAAAAAAAAdaDgAAAAEAAAACAAAABBpBcGxvcmlzLkJhc2UuVUkuVmlzdWFsTGluZQMAAAAKCgFbDgAAKAAAAAn+AAAAAAAAAAAAAAABXA4AACkAAAAJ+gAAAAAAAAAAAAAAB10OAAAAAQAAAAIAAAAEGkFwbG9yaXMuQmFzZS5VSS5WaXN1YWxMaW5lAwAAAAoKAV4OAAAoAAAACf4AAAAAAAAAAAAAAAFfDgAAKQAAAAn6AAAAAAAAAAAAAAAHYA4AAAABAAAAAgAAAAQaQXBsb3Jpcy5CYXNlLlVJLlZpc3VhbExpbmUDAAAACgoBYQ4AACgAAAAJ/gAAAAAAAAAAAAAAAWIOAAApAAAACfoAAAAAAAAAAAAAAAFjDgAAYwEAAApYAgAAAXITAADqAgAAAgAAAAFzEwAA6wIAAAEAAAABdBMAABQAAAAAAFRCTdKxQhir6UBOkl1CAXUTAADtAgAAAAAAAAAAoEAAAXYTAAAkAAAAsppiQuA26UIBdxMAAGcAAAAAAAAAAAAAAAAAAAAACXgTAAAAAAAACXkTAAAAAAABehMAAGoAAAAAAAAAAXsTAABrAAAAAAAwQQAAUEEBfBMAABQAAADctk1CJUngQpYAIkFJkhRB6SaRPwZ9EwAAAjQ1Cgl+EwAACfYCAAA0AwAA/////wEBCgl/EwAAAQAKAAFkDgAAHgAAAAGAEwAAJAAAAAAASEK6TRNDAYETAAAkAAAAYzV9Qk3Sq0IJghMAAAmDEwAAAAAAAAoBhBMAAGsAAAAAAAAAAAAAAAGFEwAAawAAAAAAAAAAAAAAAAAAAAGGEwAAFAAAAAAAAAAAAAAAAAAAAAAAAACkAQAA/////wEBCgmHEwAAAQAKAAdlDgAAAAEAAAACAAAABBpBcGxvcmlzLkJhc2UuVUkuVmlzdWFsTGluZQMAAAAKCgdmDgAAAAEAAAADAAAABBVTeXN0ZW0uRHJhd2luZy5Qb2ludEYEAAAAAYgTAAAkAAAAsppiQuA26UIBiRMAACQAAAAAADxC4DbpQgGKEwAAJAAAALKahELgNulCB2cOAAAAAQAAAAMAAAAEF0FwbG9yaXMuQmFzZS5BbmNob3JNb2RlAwAAAAGLEwAAZwAAAAAAAAABjBMAAGcAAAACAAAAAY0TAABnAAAABAAAAAFoDgAAKAAAAAn+AAAAAAAAAAAAAAABaQ4AACkAAAAJjhMAAAIAAAACAAAAB2oOAAAAAQAAAAIAAAAEGkFwbG9yaXMuQmFzZS5VSS5WaXN1YWxMaW5lAwAAAAoKAWsOAAAoAAAACf4AAAAAAAAAAAAAAAFsDgAAKQAAAAn6AAAAAAAAAAAAAAAHbQ4AAAABAAAAAgAAAAQaQXBsb3Jpcy5CYXNlLlVJLlZpc3VhbExpbmUDAAAACgoBbg4AACgAAAAJ/gAAAAAAAAAAAAAAAW8OAAApAAAACfoAAAAAAAAAAAAAAAdwDgAAAAEAAAACAAAABBpBcGxvcmlzLkJhc2UuVUkuVmlzdWFsTGluZQMAAAAKCgFxDgAAKAAAAAn+AAAAAAAAAAAAAAABcg4AACkAAAAJ+gAAAAAAAAAAAAAAB3MOAAAAAQAAAAIAAAAEGkFwbG9yaXMuQmFzZS5VSS5WaXN1YWxMaW5lAwAAAAoKAXQOAAAoAAAACf4AAAAAAAAAAAAAAAF1DgAAKQAAAAn6AAAAAAAAAAAAAAAHdg4AAAABAAAAAgAAAAQaQXBsb3Jpcy5CYXNlLlVJLlZpc3VhbExpbmUDAAAACgoBdw4AACgAAAAJ/gAAAAAAAAAAAAAAAXgOAAApAAAACfoAAAAAAAAAAAAAAAd5DgAAAAEAAAACAAAABBpBcGxvcmlzLkJhc2UuVUkuVmlzdWFsTGluZQMAAAAKCgF6DgAAKAAAAAn+AAAAAAAAAAAAAAABew4AACkAAAAJ+gAAAAAAAAAAAAAAB3wOAAAAAQAAAAIAAAAEGkFwbG9yaXMuQmFzZS5VSS5WaXN1YWxMaW5lAwAAAAoKAX0OAAAoAAAACf4AAAAAAAAAAAAAAAF+DgAAKQAAAAn6AAAAAAAAAAAAAAAHfw4AAAABAAAAAgAAAAQaQXBsb3Jpcy5CYXNlLlVJLlZpc3VhbExpbmUDAAAACgoBgA4AACgAAAAJ/gAAAAAAAAAAAAAAAYEOAAApAAAACfoAAAAAAAAAAAAAAAeCDgAAAAEAAAACAAAABBpBcGxvcmlzLkJhc2UuVUkuVmlzdWFsTGluZQMAAAAKCgGDDgAAKAAAAAn+AAAAAAAAAAAAAAABhA4AACkAAAAJ+gAAAAAAAAAAAAAAB4UOAAAAAQAAAAIAAAAEGkFwbG9yaXMuQmFzZS5VSS5WaXN1YWxMaW5lAwAAAAoKAYYOAAAoAAAACf4AAAAAAAAAAAAAAAGHDgAAKQAAAAn6AAAAAAAAAAAAAAAHiA4AAAABAAAAAgAAAAQaQXBsb3Jpcy5CYXNlLlVJLlZpc3VhbExpbmUDAAAACgoBiQ4AACgAAAAJ/gAAAAAAAAAAAAAAAYoOAAApAAAACfoAAAAAAAAAAAAAAAeLDgAAAAEAAAACAAAABBpBcGxvcmlzLkJhc2UuVUkuVmlzdWFsTGluZQMAAAAKCgGMDgAAKAAAAAn+AAAAAAAAAAAAAAABjQ4AACkAAAAJ+gAAAAAAAAAAAAAAB44OAAAAAQAAAAIAAAAEGkFwbG9yaXMuQmFzZS5VSS5WaXN1YWxMaW5lAwAAAAoKAY8OAAAoAAAACf4AAAAAAAAAAAAAAAGQDgAAKQAAAAn6AAAAAAAAAAAAAAAHkQ4AAAABAAAAAgAAAAQaQXBsb3Jpcy5CYXNlLlVJLlZpc3VhbExpbmUDAAAACgoBkg4AACgAAAAJ/gAAAAAAAAAAAAAAAZMOAAApAAAACfoAAAAAAAAAAAAAAAeUDgAAAAEAAAACAAAABBpBcGxvcmlzLkJhc2UuVUkuVmlzdWFsTGluZQMAAAAKCgGVDgAAKAAAAAn+AAAAAAAAAAAAAAABlg4AACkAAAAJ+gAAAAAAAAAAAAAAB5cOAAAAAQAAAAIAAAAEGkFwbG9yaXMuQmFzZS5VSS5WaXN1YWxMaW5lAwAAAAoKAZgOAAAoAAAACf4AAAAAAAAAAAAAAAGZDgAAKQAAAAn6AAAAAAAAAAAAAAAHmg4AAAABAAAAAgAAAAQaQXBsb3Jpcy5CYXNlLlVJLlZpc3VhbExpbmUDAAAACgoBmw4AACgAAAAJ/gAAAAAAAAAAAAAAAZwOAAApAAAACfoAAAAAAAAAAAAAAAedDgAAAAEAAAACAAAABBpBcGxvcmlzLkJhc2UuVUkuVmlzdWFsTGluZQMAAAAKCgGeDgAAKAAAAAn+AAAAAAAAAAAAAAABnw4AACkAAAAJ+gAAAAAAAAAAAAAAB6AOAAAAAQAAAAIAAAAEGkFwbG9yaXMuQmFzZS5VSS5WaXN1YWxMaW5lAwAAAAoKAaEOAAAoAAAACf4AAAAAAAAAAAAAAAGiDgAAKQAAAAn6AAAAAAAAAAAAAAABow4AAGMBAAAKWAIAAAGPEwAA6gIAAAIAAAABkBMAAOsCAAABAAAAAZETAAAUAAAAAABUQgaAdkIYq+lAKEmqQQGSEwAA7QIAAAAAAAAAAKBAAAGTEwAAJAAAALKaYkIoiZBCAZQTAABnAAAAAAAAAAAAAAAAAAAAAAmVEwAAAAAAAAmWEwAAAAAAAZcTAABqAAAAAAAAAAGYEwAAawAAAAAAMEEAAFBBAZkTAAAUAAAA3LZNQty2h0KWACJBSZIUQekmkT8GmhMAAAIyMAoJmxMAAAn2AgAANAMAAP////8BAQoJnBMAAAEACgABpA4AAB4AAAABnRMAACQAAAAAAEhCTdKrQgGeEwAAJAAAAGM1fUIGgGpCCZ8TAAAJoBMAAAAAAAAKAaETAABrAAAAAAAAAAAAAAABohMAAGsAAAAAAAAAAAAAAAAAAAABoxMAABQAAAAAAAAAAAAAAAAAAAAAAAAApAEAAP////8BAQoJpBMAAAEACgAHpQ4AAAABAAAAAgAAAAQaQXBsb3Jpcy5CYXNlLlVJLlZpc3VhbExpbmUDAAAACgoHpg4AAAABAAAAAwAAAAQVU3lzdGVtLkRyYXdpbmcuUG9pbnRGBAAAAAGlEwAAJAAAALKaYkIoiZBCAaYTAAAkAAAAAAA8QiiJkEIBpxMAACQAAACymoRCKImQQgenDgAAAAEAAAADAAAABBdBcGxvcmlzLkJhc2UuQW5jaG9yTW9kZQMAAAABqBMAAGcAAAAAAAAAAakTAABnAAAAAgAAAAGqEwAAZwAAAAQAAAABqA4AACgAAAAJ/gAAAAAAAAAAAAAAAakOAAApAAAACasTAAACAAAAAgAAAAeqDgAAAAEAAAACAAAABBpBcGxvcmlzLkJhc2UuVUkuVmlzdWFsTGluZQMAAAAKCgGrDgAAKAAAAAn+AAAAAAAAAAAAAAABrA4AACkAAAAJ+gAAAAAAAAAAAAAAB60OAAAAAQAAAAIAAAAEGkFwbG9yaXMuQmFzZS5VSS5WaXN1YWxMaW5lAwAAAAoKAa4OAAAoAAAACf4AAAAAAAAAAAAAAAGvDgAAKQAAAAn6AAAAAAAAAAAAAAAHsA4AAAABAAAAAgAAAAQaQXBsb3Jpcy5CYXNlLlVJLlZpc3VhbExpbmUDAAAACgoBsQ4AACgAAAAJ/gAAAAAAAAAAAAAAAbIOAAApAAAACfoAAAAAAAAAAAAAAAezDgAAAAEAAAACAAAABBpBcGxvcmlzLkJhc2UuVUkuVmlzdWFsTGluZQMAAAAKCgG0DgAAKAAAAAn+AAAAAAAAAAAAAAABtQ4AACkAAAAJ+gAAAAAAAAAAAAAAB7YOAAAAAQAAAAIAAAAEGkFwbG9yaXMuQmFzZS5VSS5WaXN1YWxMaW5lAwAAAAoKAbcOAAAoAAAACf4AAAAAAAAAAAAAAAG4DgAAKQAAAAn6AAAAAAAAAAAAAAAHuQ4AAAABAAAAAgAAAAQaQXBsb3Jpcy5CYXNlLlVJLlZpc3VhbExpbmUDAAAACgoBug4AACgAAAAJ/gAAAAAAAAAAAAAAAbsOAAApAAAACfoAAAAAAAAAAAAAAAe8DgAAAAEAAAACAAAABBpBcGxvcmlzLkJhc2UuVUkuVmlzdWFsTGluZQMAAAAKCgG9DgAAKAAAAAn+AAAAAAAAAAAAAAABvg4AACkAAAAJ+gAAAAAAAAAAAAAAB78OAAAAAQAAAAIAAAAEGkFwbG9yaXMuQmFzZS5VSS5WaXN1YWxMaW5lAwAAAAoKAcAOAAAoAAAACf4AAAAAAAAAAAAAAAHBDgAAKQAAAAn6AAAAAAAAAAAAAAAHwg4AAAABAAAAAgAAAAQaQXBsb3Jpcy5CYXNlLlVJLlZpc3VhbExpbmUDAAAACgoBww4AACgAAAAJ/gAAAAAAAAAAAAAAAcQOAAApAAAACfoAAAAAAAAAAAAAAAfFDgAAAAEAAAACAAAABBpBcGxvcmlzLkJhc2UuVUkuVmlzdWFsTGluZQMAAAAKCgHGDgAAKAAAAAn+AAAAAAAAAAAAAAABxw4AACkAAAAJ+gAAAAAAAAAAAAAAB8gOAAAAAQAAAAIAAAAEGkFwbG9yaXMuQmFzZS5VSS5WaXN1YWxMaW5lAwAAAAoKAckOAAAoAAAACf4AAAAAAAAAAAAAAAHKDgAAKQAAAAn6AAAAAAAAAAAAAAAHyw4AAAABAAAAAgAAAAQaQXBsb3Jpcy5CYXNlLlVJLlZpc3VhbExpbmUDAAAACgoBzA4AACgAAAAJ/gAAAAAAAAAAAAAAAc0OAAApAAAACfoAAAAAAAAAAAAAAAfODgAAAAEAAAACAAAABBpBcGxvcmlzLkJhc2UuVUkuVmlzdWFsTGluZQMAAAAKCgHPDgAAKAAAAAn+AAAAAAAAAAAAAAAB0A4AACkAAAAJ+gAAAAAAAAAAAAAAB9EOAAAAAQAAAAIAAAAEGkFwbG9yaXMuQmFzZS5VSS5WaXN1YWxMaW5lAwAAAAoKAdIOAAAoAAAACf4AAAAAAAAAAAAAAAHTDgAAKQAAAAn6AAAAAAAAAAAAAAAH1A4AAAABAAAAAgAAAAQaQXBsb3Jpcy5CYXNlLlVJLlZpc3VhbExpbmUDAAAACgoB1Q4AACgAAAAJ/gAAAAAAAAAAAAAAAdYOAAApAAAACfoAAAAAAAAAAAAAAAfXDgAAAAEAAAACAAAABBpBcGxvcmlzLkJhc2UuVUkuVmlzdWFsTGluZQMAAAAKCgHYDgAAKAAAAAn+AAAAAAAAAAAAAAAB2Q4AACkAAAAJ+gAAAAAAAAAAAAAAB9oOAAAAAQAAAAIAAAAEGkFwbG9yaXMuQmFzZS5VSS5WaXN1YWxMaW5lAwAAAAoKAdsOAAAoAAAACf4AAAAAAAAAAAAAAAHcDgAAKQAAAAn6AAAAAAAAAAAAAAAH3Q4AAAABAAAAAgAAAAQaQXBsb3Jpcy5CYXNlLlVJLlZpc3VhbExpbmUDAAAACgoB3g4AACgAAAAJ/gAAAAAAAAAAAAAAAd8OAAApAAAACfoAAAAAAAAAAAAAAAfgDgAAAAEAAAACAAAABBpBcGxvcmlzLkJhc2UuVUkuVmlzdWFsTGluZQMAAAAKCgHhDgAAKAAAAAn+AAAAAAAAAAAAAAAB4g4AACkAAAAJ+gAAAAAAAAAAAAAAB+MOAAAAAQAAAAIAAAAEGkFwbG9yaXMuQmFzZS5VSS5WaXN1YWxMaW5lAwAAAAoKAeQOAAAoAAAACf4AAAAAAAAAAAAAAAHlDgAAKQAAAAn6AAAAAAAAAAAAAAAH5g4AAAABAAAAAgAAAAQaQXBsb3Jpcy5CYXNlLlVJLlZpc3VhbExpbmUDAAAACgoB5w4AACgAAAAJ/gAAAAAAAAAAAAAAAegOAAApAAAACfoAAAAAAAAAAAAAAAfpDgAAAAEAAAACAAAABBpBcGxvcmlzLkJhc2UuVUkuVmlzdWFsTGluZQMAAAAKCgHqDgAAKAAAAAn+AAAAAAAAAAAAAAAB6w4AACkAAAAJ+gAAAAAAAAAAAAAAB+wOAAAAAQAAAAIAAAAEGkFwbG9yaXMuQmFzZS5VSS5WaXN1YWxMaW5lAwAAAAoKAe0OAAAoAAAACf4AAAAAAAAAAAAAAAHuDgAAKQAAAAn6AAAAAAAAAAAAAAAH7w4AAAABAAAAAgAAAAQaQXBsb3Jpcy5CYXNlLlVJLlZpc3VhbExpbmUDAAAACgoB8A4AACgAAAAJ/gAAAAAAAAAAAAAAAfEOAAApAAAACfoAAAAAAAAAAAAAAAfyDgAAAAEAAAACAAAABBpBcGxvcmlzLkJhc2UuVUkuVmlzdWFsTGluZQMAAAAKCgHzDgAAKAAAAAn+AAAAAAAAAAAAAAAB9A4AACkAAAAJ+gAAAAAAAAAAAAAAB/UOAAAAAQAAAAIAAAAEGkFwbG9yaXMuQmFzZS5VSS5WaXN1YWxMaW5lAwAAAAoKAfYOAAAoAAAACf4AAAAAAAAAAAAAAAH3DgAAKQAAAAn6AAAAAAAAAAAAAAAH+A4AAAABAAAAAgAAAAQaQXBsb3Jpcy5CYXNlLlVJLlZpc3VhbExpbmUDAAAACgoB+Q4AACgAAAAJ/gAAAAAAAAAAAAAAAfoOAAApAAAACfoAAAAAAAAAAAAAAAf7DgAAAAEAAAACAAAABBpBcGxvcmlzLkJhc2UuVUkuVmlzdWFsTGluZQMAAAAKCgH8DgAAKAAAAAn+AAAAAAAAAAAAAAAB/Q4AACkAAAAJ+gAAAAAAAAAAAAAAB/4OAAAAAQAAAAIAAAAEGkFwbG9yaXMuQmFzZS5VSS5WaXN1YWxMaW5lAwAAAAoKAf8OAAAoAAAACf4AAAAAAAAAAAAAAAEADwAAKQAAAAn6AAAAAAAAAAAAAAAHAQ8AAAABAAAAAgAAAAQaQXBsb3Jpcy5CYXNlLlVJLlZpc3VhbExpbmUDAAAACgoBAg8AACgAAAAJ/gAAAAAAAAAAAAAAAQMPAAApAAAACfoAAAAAAAAAAAAAAAcEDwAAAAEAAAACAAAABBpBcGxvcmlzLkJhc2UuVUkuVmlzdWFsTGluZQMAAAAKCgEFDwAAKAAAAAn+AAAAAAAAAAAAAAABBg8AACkAAAAJ+gAAAAAAAAAAAAAABwcPAAAAAQAAAAIAAAAEGkFwbG9yaXMuQmFzZS5VSS5WaXN1YWxMaW5lAwAAAAoKAQgPAAAoAAAACf4AAAAAAAAAAAAAAAEJDwAAKQAAAAn6AAAAAAAAAAAAAAAHCg8AAAABAAAAAgAAAAQaQXBsb3Jpcy5CYXNlLlVJLlZpc3VhbExpbmUDAAAACgoBCw8AACgAAAAJ/gAAAAAAAAAAAAAAAQwPAAApAAAACfoAAAAAAAAAAAAAAAcNDwAAAAEAAAACAAAABBpBcGxvcmlzLkJhc2UuVUkuVmlzdWFsTGluZQMAAAAKCgEODwAAKAAAAAn+AAAAAAAAAAAAAAABDw8AACkAAAAJ+gAAAAAAAAAAAAAABxAPAAAAAQAAAAIAAAAEGkFwbG9yaXMuQmFzZS5VSS5WaXN1YWxMaW5lAwAAAAoKAREPAAAoAAAACf4AAAAAAAAAAAAAAAESDwAAKQAAAAn6AAAAAAAAAAAAAAABEw8AAGMBAAAKWAIAAAGsEwAA6gIAAAIAAAABrRMAAOsCAAABAAAAAa4TAAAUAAAAuEQKRDaTEEMY0ZhCAAAAAAGvEwAA7QIAAAAAAAAAAKBAAAGwEwAAJAAAAMrRE0Q2kxBDAbETAABnAAAAAAAAAAAAAAAAAAAAAAmyEwAAAAAAAAmzEwAAAQAAAbQTAABqAAAAAAAAAAG1EwAAawAAAAAAoEAAAFBBAbYTAAAUAAAAkiQTRAAADEOZ3LpASZIUQekmkT8GtxMAAAE0Cgm4EwAACfYCAAA0AwAA/////wEBCgm5EwAAAQAKAAEUDwAAHgAAAAG6EwAAJAAAALiECUS6TRNDAbsTAAAkAAAA2x4eRLPYDUMJvBMAAAm9EwAAAAAAAAoBvhMAAGsAAAAAAAAAAAAAAAG/EwAAawAAAAAAAAAAAAAAAAAAAAHAEwAAFAAAAAAAAAAAAAAAAAAAAAAAAACkAQAA/////wEBCgnBEwAAAQAKAAcVDwAAAAEAAAACAAAABBpBcGxvcmlzLkJhc2UuVUkuVmlzdWFsTGluZQMAAAAKCgcWDwAAAAEAAAADAAAABBVTeXN0ZW0uRHJhd2luZy5Qb2ludEYEAAAAAcITAAAkAAAAytETRDaTEEMBwxMAACQAAAC4xAhENpMQQwHEEwAAJAAAANzeHkQ2kxBDBxcPAAAAAQAAAAMAAAAEF0FwbG9yaXMuQmFzZS5BbmNob3JNb2RlAwAAAAHFEwAAZwAAAAAAAAABxhMAAGcAAAACAAAAAccTAABnAAAABAAAAAEYDwAAKAAAAAn+AAAAAAAAAAAAAAABGQ8AACkAAAAJyBMAAAIAAAACAAAABxoPAAAAAQAAAAIAAAAEGkFwbG9yaXMuQmFzZS5VSS5WaXN1YWxMaW5lAwAAAAoKARsPAAAoAAAACf4AAAAAAAAAAAAAAAEcDwAAKQAAAAn6AAAAAAAAAAAAAAAHHQ8AAAABAAAAAgAAAAQaQXBsb3Jpcy5CYXNlLlVJLlZpc3VhbExpbmUDAAAACgoBHg8AACgAAAAJ/gAAAAAAAAAAAAAAAR8PAAApAAAACfoAAAAAAAAAAAAAAAcgDwAAAAEAAAACAAAABBpBcGxvcmlzLkJhc2UuVUkuVmlzdWFsTGluZQMAAAAKCgEhDwAAKAAAAAn+AAAAAAAAAAAAAAABIg8AACkAAAAJ+gAAAAAAAAAAAAAAByMPAAAAAQAAAAIAAAAEGkFwbG9yaXMuQmFzZS5VSS5WaXN1YWxMaW5lAwAAAAoKASQPAAAoAAAACf4AAAAAAAAAAAAAAAElDwAAKQAAAAn6AAAAAAAAAAAAAAAHJg8AAAABAAAAAgAAAAQaQXBsb3Jpcy5CYXNlLlVJLlZpc3VhbExpbmUDAAAACgoBJw8AACgAAAAJ/gAAAAAAAAAAAAAAASgPAAApAAAACfoAAAAAAAAAAAAAAAcpDwAAAAEAAAACAAAABBpBcGxvcmlzLkJhc2UuVUkuVmlzdWFsTGluZQMAAAAKCgEqDwAAKAAAAAn+AAAAAAAAAAAAAAABKw8AACkAAAAJ+gAAAAAAAAAAAAAABywPAAAAAQAAAAIAAAAEGkFwbG9yaXMuQmFzZS5VSS5WaXN1YWxMaW5lAwAAAAoKAS0PAAAoAAAACf4AAAAAAAAAAAAAAAEuDwAAKQAAAAn6AAAAAAAAAAAAAAAHLw8AAAABAAAAAgAAAAQaQXBsb3Jpcy5CYXNlLlVJLlZpc3VhbExpbmUDAAAACgoBMA8AACgAAAAJ/gAAAAAAAAAAAAAAATEPAAApAAAACfoAAAAAAAAAAAAAAAcyDwAAAAEAAAACAAAABBpBcGxvcmlzLkJhc2UuVUkuVmlzdWFsTGluZQMAAAAKCgEzDwAAKAAAAAn+AAAAAAAAAAAAAAABNA8AACkAAAAJ+gAAAAAAAAAAAAAABzUPAAAAAQAAAAIAAAAEGkFwbG9yaXMuQmFzZS5VSS5WaXN1YWxMaW5lAwAAAAoKATYPAAAoAAAACf4AAAAAAAAAAAAAAAE3DwAAKQAAAAn6AAAAAAAAAAAAAAAHOA8AAAABAAAAAgAAAAQaQXBsb3Jpcy5CYXNlLlVJLlZpc3VhbExpbmUDAAAACgoBOQ8AACgAAAAJ/gAAAAAAAAAAAAAAAToPAAApAAAACfoAAAAAAAAAAAAAAAc7DwAAAAEAAAACAAAABBpBcGxvcmlzLkJhc2UuVUkuVmlzdWFsTGluZQMAAAAKCgE8DwAAKAAAAAn+AAAAAAAAAAAAAAABPQ8AACkAAAAJ+gAAAAAAAAAAAAAABz4PAAAAAQAAAAIAAAAEGkFwbG9yaXMuQmFzZS5VSS5WaXN1YWxMaW5lAwAAAAoKAT8PAAAoAAAACf4AAAAAAAAAAAAAAAFADwAAKQAAAAn6AAAAAAAAAAAAAAAHQQ8AAAABAAAAAgAAAAQaQXBsb3Jpcy5CYXNlLlVJLlZpc3VhbExpbmUDAAAACgoBQg8AACgAAAAJ/gAAAAAAAAAAAAAAAUMPAAApAAAACfoAAAAAAAAAAAAAAAdEDwAAAAEAAAACAAAABBpBcGxvcmlzLkJhc2UuVUkuVmlzdWFsTGluZQMAAAAKCgFFDwAAKAAAAAn+AAAAAAAAAAAAAAABRg8AACkAAAAJ+gAAAAAAAAAAAAAAB0cPAAAAAQAAAAIAAAAEGkFwbG9yaXMuQmFzZS5VSS5WaXN1YWxMaW5lAwAAAAoKAUgPAAAoAAAACf4AAAAAAAAAAAAAAAFJDwAAKQAAAAn6AAAAAAAAAAAAAAABSg8AAGMBAAAKWAIAAAHJEwAA6gIAAAIAAAAByhMAAOsCAAABAAAAAcsTAAAUAAAAh9zKQyepCEPA2YdBYJL0QAHMEwAA7QIAAAAAAAAAAKBAAAHNEwAAJAAAAFUbz0NwewxDAc4TAABnAAAAAAAAAAAAAAAAAAAAAAnPEwAAAAAAAAnQEwAAAAAAAdETAABqAAAAAAAAAAHSEwAAawAAAAAAMEEAAFBBAdMTAAAUAAAAk6TMQ9y2B0OWACJBSZIUQekmkT8G1BMAAAIxMAoJ1RMAAAn2AgAANAMAAP////8BAQoJ1hMAAAEACgABSw8AAB4AAAAB1xMAACQAAACHXMlDuk0TQwHYEwAAJAAAACPa1EMnqQVDCdkTAAAJ2hMAAAAAAAAKAdsTAABrAAAAAAAAAAAAAAAB3BMAAGsAAAAAAAAAAAAAAAAAAAAB3RMAABQAAAAAAAAAAAAAAAAAAAAAAAAApAEAAP////8BAQoJ3hMAAAEACgAHTA8AAAABAAAAAgAAAAQaQXBsb3Jpcy5CYXNlLlVJLlZpc3VhbExpbmUDAAAACgoHTQ8AAAABAAAAAwAAAAQVU3lzdGVtLkRyYXdpbmcuUG9pbnRGBAAAAAHfEwAAJAAAAFUbz0NwewxDAeATAAAkAAAAh9zHQ3B7DEMB4RMAACQAAAAjWtZDcHsMQwdODwAAAAEAAAADAAAABBdBcGxvcmlzLkJhc2UuQW5jaG9yTW9kZQMAAAAB4hMAAGcAAAAAAAAAAeMTAABnAAAAAgAAAAHkEwAAZwAAAAQAAAABTw8AACgAAAAJ/gAAAAAAAAAAAAAAAVAPAAApAAAACeUTAAACAAAAAgAAAAdRDwAAAAEAAAACAAAABBpBcGxvcmlzLkJhc2UuVUkuVmlzdWFsTGluZQMAAAAKCgFSDwAAKAAAAAn+AAAAAAAAAAAAAAABUw8AACkAAAAJ+gAAAAAAAAAAAAAAB1QPAAAAAQAAAAIAAAAEGkFwbG9yaXMuQmFzZS5VSS5WaXN1YWxMaW5lAwAAAAoKAVUPAAAoAAAACf4AAAAAAAAAAAAAAAFWDwAAKQAAAAn6AAAAAAAAAAAAAAAHVw8AAAABAAAAAgAAAAQaQXBsb3Jpcy5CYXNlLlVJLlZpc3VhbExpbmUDAAAACgoBWA8AACgAAAAJ/gAAAAAAAAAAAAAAAVkPAAApAAAACfoAAAAAAAAAAAAAAAdaDwAAAAEAAAACAAAABBpBcGxvcmlzLkJhc2UuVUkuVmlzdWFsTGluZQMAAAAKCgFbDwAAKAAAAAn+AAAAAAAAAAAAAAABXA8AACkAAAAJ+gAAAAAAAAAAAAAAB10PAAAAAQAAAAIAAAAEGkFwbG9yaXMuQmFzZS5VSS5WaXN1YWxMaW5lAwAAAAoKAV4PAAAoAAAACf4AAAAAAAAAAAAAAAFfDwAAKQAAAAn6AAAAAAAAAAAAAAAHYA8AAAABAAAAAgAAAAQaQXBsb3Jpcy5CYXNlLlVJLlZpc3VhbExpbmUDAAAACgoBYQ8AACgAAAAJ/gAAAAAAAAAAAAAAAWIPAAApAAAACfoAAAAAAAAAAAAAAAdjDwAAAAEAAAACAAAABBpBcGxvcmlzLkJhc2UuVUkuVmlzdWFsTGluZQMAAAAKCgFkDwAAKAAAAAn+AAAAAAAAAAAAAAABZQ8AACkAAAAJ+gAAAAAAAAAAAAAAB2YPAAAAAQAAAAIAAAAEGkFwbG9yaXMuQmFzZS5VSS5WaXN1YWxMaW5lAwAAAAoKAWcPAAAoAAAACf4AAAAAAAAAAAAAAAFoDwAAKQAAAAn6AAAAAAAAAAAAAAAHaQ8AAAABAAAAAgAAAAQaQXBsb3Jpcy5CYXNlLlVJLlZpc3VhbExpbmUDAAAACgoBag8AACgAAAAJ/gAAAAAAAAAAAAAAAWsPAAApAAAACfoAAAAAAAAAAAAAAAdsDwAAAAEAAAACAAAABBpBcGxvcmlzLkJhc2UuVUkuVmlzdWFsTGluZQMAAAAKCgFtDwAAKAAAAAn+AAAAAAAAAAAAAAABbg8AACkAAAAJ+gAAAAAAAAAAAAAAAW8PAABjAQAAClgCAAAB5hMAAOoCAAACAAAAAecTAADrAgAAAQAAAAHoEwAAFAAAACHpMkMMNeBCOCE4QtDMAEIB6RMAAO0CAAAAAAAAAACgQAAB6hMAACQAAABI7UlDIDQAQwHrEwAAZwAAAAAAAAAAAAAAAAAAAAAJ7BMAAAAAAAAJ7RMAAAAAAAHuEwAAagAAAAAAAAAB7xMAAGsAAAAAADBBAABQQQHwEwAAFAAAAJMkRUOTJPdClgAiQUmSFEHpJpE/BvETAAACMjgKCfITAAAJ9gIAADQDAAD/////AQEKCfMTAAABAAoAAXAPAAAeAAAAAfQTAAAkAAAAIekvQ7pNE0MB9RMAACQAAABv8WNDDDXaQgn2EwAACfcTAAAAAAAACgH4EwAAawAAAAAAAAAAAAAAAfkTAABrAAAAAAAAAAAAAAAAAAAAAfoTAAAUAAAAAAAAAAAAAAAAAAAAAAAAAKQBAAD/////AQEKCfsTAAABAAoAB3EPAAAAAQAAAAIAAAAEGkFwbG9yaXMuQmFzZS5VSS5WaXN1YWxMaW5lAwAAAAoKB3IPAAAAAQAAAAMAAAAEFVN5c3RlbS5EcmF3aW5nLlBvaW50RgQAAAAB/BMAACQAAABI7UlDIDQAQwH9EwAAJAAAACHpLEMgNABDAf4TAAAkAAAAb/FmQyA0AEMHcw8AAAABAAAAAwAAAAQXQXBsb3Jpcy5CYXNlLkFuY2hvck1vZGUDAAAAAf8TAABnAAAAAAAAAAEAFAAAZwAAAAIAAAABARQAAGcAAAAEAAAAAXQPAAAoAAAACf4AAAAAAAAAAAAAAAF1DwAAKQAAAAkCFAAAAgAAAAIAAAAHdg8AAAABAAAAAgAAAAQaQXBsb3Jpcy5CYXNlLlVJLlZpc3VhbExpbmUDAAAACgoBdw8AACgAAAAJ/gAAAAAAAAAAAAAAAXgPAAApAAAACfoAAAAAAAAAAAAAAAd5DwAAAAEAAAACAAAABBpBcGxvcmlzLkJhc2UuVUkuVmlzdWFsTGluZQMAAAAKCgF6DwAAKAAAAAn+AAAAAAAAAAAAAAABew8AACkAAAAJ+gAAAAAAAAAAAAAAB3wPAAAAAQAAAAIAAAAEGkFwbG9yaXMuQmFzZS5VSS5WaXN1YWxMaW5lAwAAAAoKAX0PAAAoAAAACf4AAAAAAAAAAAAAAAF+DwAAKQAAAAn6AAAAAAAAAAAAAAAHfw8AAAABAAAAAgAAAAQaQXBsb3Jpcy5CYXNlLlVJLlZpc3VhbExpbmUDAAAACgoBgA8AACgAAAAJ/gAAAAAAAAAAAAAAAYEPAAApAAAACfoAAAAAAAAAAAAAAAeCDwAAAAEAAAACAAAABBpBcGxvcmlzLkJhc2UuVUkuVmlzdWFsTGluZQMAAAAKCgGDDwAAKAAAAAn+AAAAAAAAAAAAAAABhA8AACkAAAAJ+gAAAAAAAAAAAAAAB4UPAAAAAQAAAAIAAAAEGkFwbG9yaXMuQmFzZS5VSS5WaXN1YWxMaW5lAwAAAAoKAYYPAAAoAAAACf4AAAAAAAAAAAAAAAGHDwAAKQAAAAn6AAAAAAAAAAAAAAAHiA8AAAABAAAAAgAAAAQaQXBsb3Jpcy5CYXNlLlVJLlZpc3VhbExpbmUDAAAACgoBiQ8AACgAAAAJ/gAAAAAAAAAAAAAAAYoPAAApAAAACfoAAAAAAAAAAAAAAAeLDwAAAAEAAAACAAAABBpBcGxvcmlzLkJhc2UuVUkuVmlzdWFsTGluZQMAAAAKCgGMDwAAKAAAAAn+AAAAAAAAAAAAAAABjQ8AACkAAAAJ+gAAAAAAAAAAAAAAB44PAAAAAQAAAAIAAAAEGkFwbG9yaXMuQmFzZS5VSS5WaXN1YWxMaW5lAwAAAAoKAY8PAAAoAAAACf4AAAAAAAAAAAAAAAGQDwAAKQAAAAn6AAAAAAAAAAAAAAAHkQ8AAAABAAAAAgAAAAQaQXBsb3Jpcy5CYXNlLlVJLlZpc3VhbExpbmUDAAAACgoBkg8AACgAAAAJ/gAAAAAAAAAAAAAAAZMPAAApAAAACfoAAAAAAAAAAAAAAAeUDwAAAAEAAAACAAAABBpBcGxvcmlzLkJhc2UuVUkuVmlzdWFsTGluZQMAAAAKCgGVDwAAKAAAAAn+AAAAAAAAAAAAAAABlg8AACkAAAAJ+gAAAAAAAAAAAAAAB5cPAAAAAQAAAAIAAAAEGkFwbG9yaXMuQmFzZS5VSS5WaXN1YWxMaW5lAwAAAAoKAZgPAAAoAAAACf4AAAAAAAAAAAAAAAGZDwAAKQAAAAn6AAAAAAAAAAAAAAAHmg8AAAABAAAAAgAAAAQaQXBsb3Jpcy5CYXNlLlVJLlZpc3VhbExpbmUDAAAACgoBmw8AACgAAAAJ/gAAAAAAAAAAAAAAAZwPAAApAAAACfoAAAAAAAAAAAAAAAedDwAAAAEAAAACAAAABBpBcGxvcmlzLkJhc2UuVUkuVmlzdWFsTGluZQMAAAAKCgGeDwAAKAAAAAn+AAAAAAAAAAAAAAABnw8AACkAAAAJ+gAAAAAAAAAAAAAAB6APAAAAAQAAAAIAAAAEGkFwbG9yaXMuQmFzZS5VSS5WaXN1YWxMaW5lAwAAAAoKAaEPAAAoAAAACf4AAAAAAAAAAAAAAAGiDwAAKQAAAAn6AAAAAAAAAAAAAAAHow8AAAABAAAAAgAAAAQaQXBsb3Jpcy5CYXNlLlVJLlZpc3VhbExpbmUDAAAACgoBpA8AACgAAAAJ/gAAAAAAAAAAAAAAAaUPAAApAAAACfoAAAAAAAAAAAAAAAemDwAAAAEAAAACAAAABBpBcGxvcmlzLkJhc2UuVUkuVmlzdWFsTGluZQMAAAAKCgGnDwAAKAAAAAn+AAAAAAAAAAAAAAABqA8AACkAAAAJ+gAAAAAAAAAAAAAAB6kPAAAAAQAAAAIAAAAEGkFwbG9yaXMuQmFzZS5VSS5WaXN1YWxMaW5lAwAAAAoKAaoPAAAoAAAACf4AAAAAAAAAAAAAAAGrDwAAKQAAAAn6AAAAAAAAAAAAAAAHrA8AAAABAAAAAgAAAAQaQXBsb3Jpcy5CYXNlLlVJLlZpc3VhbExpbmUDAAAACgoBrQ8AACgAAAAJ/gAAAAAAAAAAAAAAAa4PAAApAAAACfoAAAAAAAAAAAAAAAevDwAAAAEAAAACAAAABBpBcGxvcmlzLkJhc2UuVUkuVmlzdWFsTGluZQMAAAAKCgGwDwAAKAAAAAn+AAAAAAAAAAAAAAABsQ8AACkAAAAJ+gAAAAAAAAAAAAAAB7IPAAAAAQAAAAIAAAAEGkFwbG9yaXMuQmFzZS5VSS5WaXN1YWxMaW5lAwAAAAoKAbMPAAAoAAAACf4AAAAAAAAAAAAAAAG0DwAAKQAAAAn6AAAAAAAAAAAAAAAHtQ8AAAABAAAAAgAAAAQaQXBsb3Jpcy5CYXNlLlVJLlZpc3VhbExpbmUDAAAACgoBtg8AACgAAAAJ/gAAAAAAAAAAAAAAAbcPAAApAAAACfoAAAAAAAAAAAAAAAe4DwAAAAEAAAACAAAABBpBcGxvcmlzLkJhc2UuVUkuVmlzdWFsTGluZQMAAAAKCgG5DwAAKAAAAAn+AAAAAAAAAAAAAAABug8AACkAAAAJ+gAAAAAAAAAAAAAAAbsPAABjAQAAClgCAAABAxQAAOoCAAACAAAAAQQUAADrAgAAAQAAAAEFFAAAFAAAANdXfUMgNANDKFmmQaCZUUEBBhQAAO0CAAAAAAAAAACgQAABBxQAACQAAAC13oND7cAJQwEIFAAAZwAAAAAAAAAAAAAAAAAAAAAJCRQAAAAAAAAJChQAAAAAAAELFAAAagAAAAAAAAABDBQAAGsAAAAAAEBBAABwQQENFAAAFAAAALftgEOSJARDhPcxQbdtK0HHS6M/Bg4UAAACMTQKCQ8UAAAJ9gIAADQDAAD/////AQEKCRAUAAABAAoAAbwPAAAeAAAAAREUAAAkAAAA11d6Q7pNE0MBEhQAACQAAAB+kYpDIDQAQwkTFAAACRQUAAAAAAAACgEVFAAAawAAAAAAAAAAAAAAARYUAABrAAAAAAAAAAAAAAAAAAAAARcUAAAUAAAAAAAAAAAAAAAAAAAAAAAAAKQBAAD/////AQEKCRgUAAABAAoAB70PAAAAAQAAAAIAAAAEGkFwbG9yaXMuQmFzZS5VSS5WaXN1YWxMaW5lAwAAAAoKB74PAAAAAQAAAAMAAAAEFVN5c3RlbS5EcmF3aW5nLlBvaW50RgQAAAABGRQAACQAAAC13oND7cAJQwEaFAAAJAAAANhXd0PtwAlDARsUAAAkAAAAfhGMQ+3ACUMHvw8AAAABAAAAAwAAAAQXQXBsb3Jpcy5CYXNlLkFuY2hvck1vZGUDAAAAARwUAABnAAAAAAAAAAEdFAAAZwAAAAIAAAABHhQAAGcAAAAEAAAAAcAPAAAoAAAACf4AAAAAAAAAAAAAAAHBDwAAKQAAAAkfFAAAAgAAAAIAAAAHwg8AAAABAAAAAgAAAAQaQXBsb3Jpcy5CYXNlLlVJLlZpc3VhbExpbmUDAAAACgoBww8AACgAAAAJ/gAAAAAAAAAAAAAAAcQPAAApAAAACfoAAAAAAAAAAAAAAAfFDwAAAAEAAAACAAAABBpBcGxvcmlzLkJhc2UuVUkuVmlzdWFsTGluZQMAAAAKCgHGDwAAKAAAAAn+AAAAAAAAAAAAAAABxw8AACkAAAAJ+gAAAAAAAAAAAAAAB8gPAAAAAQAAAAIAAAAEGkFwbG9yaXMuQmFzZS5VSS5WaXN1YWxMaW5lAwAAAAoKAckPAAAoAAAACf4AAAAAAAAAAAAAAAHKDwAAKQAAAAn6AAAAAAAAAAAAAAAHyw8AAAABAAAAAgAAAAQaQXBsb3Jpcy5CYXNlLlVJLlZpc3VhbExpbmUDAAAACgoBzA8AACgAAAAJ/gAAAAAAAAAAAAAAAc0PAAApAAAACfoAAAAAAAAAAAAAAAfODwAAAAEAAAACAAAABBpBcGxvcmlzLkJhc2UuVUkuVmlzdWFsTGluZQMAAAAKCgHPDwAAKAAAAAn+AAAAAAAAAAAAAAAB0A8AACkAAAAJ+gAAAAAAAAAAAAAAB9EPAAAAAQAAAAIAAAAEGkFwbG9yaXMuQmFzZS5VSS5WaXN1YWxMaW5lAwAAAAoKAdIPAAAoAAAACf4AAAAAAAAAAAAAAAHTDwAAKQAAAAn6AAAAAAAAAAAAAAAH1A8AAAABAAAAAgAAAAQaQXBsb3Jpcy5CYXNlLlVJLlZpc3VhbExpbmUDAAAACgoB1Q8AACgAAAAJ/gAAAAAAAAAAAAAAAdYPAAApAAAACfoAAAAAAAAAAAAAAAfXDwAAAAEAAAACAAAABBpBcGxvcmlzLkJhc2UuVUkuVmlzdWFsTGluZQMAAAAKCgHYDwAAKAAAAAn+AAAAAAAAAAAAAAAB2Q8AACkAAAAJ+gAAAAAAAAAAAAAAB9oPAAAAAQAAAAIAAAAEGkFwbG9yaXMuQmFzZS5VSS5WaXN1YWxMaW5lAwAAAAoKAdsPAAAoAAAACf4AAAAAAAAAAAAAAAHcDwAAKQAAAAn6AAAAAAAAAAAAAAAH3Q8AAAABAAAAAgAAAAQaQXBsb3Jpcy5CYXNlLlVJLlZpc3VhbExpbmUDAAAACgoB3g8AACgAAAAJ/gAAAAAAAAAAAAAAAd8PAAApAAAACfoAAAAAAAAAAAAAAAfgDwAAAAEAAAACAAAABBpBcGxvcmlzLkJhc2UuVUkuVmlzdWFsTGluZQMAAAAKCgHhDwAAKAAAAAn+AAAAAAAAAAAAAAAB4g8AACkAAAAJ+gAAAAAAAAAAAAAAB+MPAAAAAQAAAAIAAAAEGkFwbG9yaXMuQmFzZS5VSS5WaXN1YWxMaW5lAwAAAAoKAeQPAAAoAAAACf4AAAAAAAAAAAAAAAHlDwAAKQAAAAn6AAAAAAAAAAAAAAAH5g8AAAABAAAAAgAAAAQaQXBsb3Jpcy5CYXNlLlVJLlZpc3VhbExpbmUDAAAACgoB5w8AACgAAAAJ/gAAAAAAAAAAAAAAAegPAAApAAAACfoAAAAAAAAAAAAAAAfpDwAAAAEAAAACAAAABBpBcGxvcmlzLkJhc2UuVUkuVmlzdWFsTGluZQMAAAAKCgHqDwAAKAAAAAn+AAAAAAAAAAAAAAAB6w8AACkAAAAJ+gAAAAAAAAAAAAAAB+wPAAAAAQAAAAIAAAAEGkFwbG9yaXMuQmFzZS5VSS5WaXN1YWxMaW5lAwAAAAoKAe0PAAAoAAAACf4AAAAAAAAAAAAAAAHuDwAAKQAAAAn6AAAAAAAAAAAAAAAH7w8AAAABAAAAAgAAAAQaQXBsb3Jpcy5CYXNlLlVJLlZpc3VhbExpbmUDAAAACgoB8A8AACgAAAAJ/gAAAAAAAAAAAAAAAfEPAAApAAAACfoAAAAAAAAAAAAAAAfyDwAAAAEAAAACAAAABBpBcGxvcmlzLkJhc2UuVUkuVmlzdWFsTGluZQMAAAAKCgHzDwAAKAAAAAn+AAAAAAAAAAAAAAAB9A8AACkAAAAJ+gAAAAAAAAAAAAAAB/UPAAAAAQAAAAIAAAAEGkFwbG9yaXMuQmFzZS5VSS5WaXN1YWxMaW5lAwAAAAoKAfYPAAAoAAAACf4AAAAAAAAAAAAAAAH3DwAAKQAAAAn6AAAAAAAAAAAAAAAB+A8AAGMBAAAKWAIAAAEgFAAA6gIAAAIAAAABIRQAAOsCAAABAAAAASIUAAAUAAAAIgR2Q2kGCkOA2qk/IOrIQAEjFAAA7QIAAAAAAAAAAKBAAAEkFAAAJAAAAPytdkMSKg1DASUUAABnAAAAAAAAAAAAAAAAAAAAAAkmFAAAAAAAAAknFAAAAAAAASgUAABqAAAAAAAAAAEpFAAAawAAAAAAoEAAAFBBASoUAAAUAAAASZJzQ7dtCEOZ3LpASZIUQekmkT8GKxQAAAE5CgksFAAACfYCAAA0AwAA/////wEBCgktFAAAAQAKAAH5DwAAHgAAAAEuFAAAJAAAACIEc0O6TRNDAS8UAAAkAAAA11d6Q2kGB0MJMBQAAAkxFAAAAAAAAAoBMhQAAGsAAAAAAAAAAAAAAAEzFAAAawAAAAAAAAAAAAAAAAAAAAE0FAAAFAAAAAAAAAAAAAAAAAAAAAAAAACkAQAA/////wEBCgk1FAAAAQAKAAf6DwAAAAEAAAACAAAABBpBcGxvcmlzLkJhc2UuVUkuVmlzdWFsTGluZQMAAAAKCgf7DwAAAAEAAAADAAAABBVTeXN0ZW0uRHJhd2luZy5Qb2ludEYEAAAAATYUAAAkAAAA/K12QxIqDUMBNxQAACQAAAAiBHBDEioNQwE4FAAAJAAAANZXfUMSKg1DB/wPAAAAAQAAAAMAAAAEF0FwbG9yaXMuQmFzZS5BbmNob3JNb2RlAwAAAAE5FAAAZwAAAAAAAAABOhQAAGcAAAACAAAAATsUAABnAAAABAAAAAH9DwAAKAAAAAn+AAAAAAAAAAAAAAAB/g8AACkAAAAJPBQAAAIAAAACAAAAB/8PAAAAAQAAAAIAAAAEGkFwbG9yaXMuQmFzZS5VSS5WaXN1YWxMaW5lAwAAAAoKAQAQAAAoAAAACf4AAAAAAAAAAAAAAAEBEAAAKQAAAAn6AAAAAAAAAAAAAAAHAhAAAAABAAAAAgAAAAQaQXBsb3Jpcy5CYXNlLlVJLlZpc3VhbExpbmUDAAAACgoBAxAAACgAAAAJ/gAAAAAAAAAAAAAAAQQQAAApAAAACfoAAAAAAAAAAAAAAAcFEAAAAAEAAAACAAAABBpBcGxvcmlzLkJhc2UuVUkuVmlzdWFsTGluZQMAAAAKCgEGEAAAKAAAAAn+AAAAAAAAAAAAAAABBxAAACkAAAAJ+gAAAAAAAAAAAAAABwgQAAAAAQAAAAIAAAAEGkFwbG9yaXMuQmFzZS5VSS5WaXN1YWxMaW5lAwAAAAoKAQkQAAAoAAAACf4AAAAAAAAAAAAAAAEKEAAAKQAAAAn6AAAAAAAAAAAAAAAHCxAAAAABAAAAAgAAAAQaQXBsb3Jpcy5CYXNlLlVJLlZpc3VhbExpbmUDAAAACgoBDBAAACgAAAAJ/gAAAAAAAAAAAAAAAQ0QAAApAAAACfoAAAAAAAAAAAAAAAcOEAAAAAEAAAACAAAABBpBcGxvcmlzLkJhc2UuVUkuVmlzdWFsTGluZQMAAAAKCgEPEAAAKAAAAAn+AAAAAAAAAAAAAAABEBAAACkAAAAJ+gAAAAAAAAAAAAAABxEQAAAAAQAAAAIAAAAEGkFwbG9yaXMuQmFzZS5VSS5WaXN1YWxMaW5lAwAAAAoKARIQAAAoAAAACf4AAAAAAAAAAAAAAAETEAAAKQAAAAn6AAAAAAAAAAAAAAAHFBAAAAABAAAAAgAAAAQaQXBsb3Jpcy5CYXNlLlVJLlZpc3VhbExpbmUDAAAACgoBFRAAACgAAAAJ/gAAAAAAAAAAAAAAARYQAAApAAAACfoAAAAAAAAAAAAAAAcXEAAAAAEAAAACAAAABBpBcGxvcmlzLkJhc2UuVUkuVmlzdWFsTGluZQMAAAAKCgEYEAAAKAAAAAn+AAAAAAAAAAAAAAABGRAAACkAAAAJ+gAAAAAAAAAAAAAABxoQAAAAAQAAAAIAAAAEGkFwbG9yaXMuQmFzZS5VSS5WaXN1YWxMaW5lAwAAAAoKARsQAAAoAAAACf4AAAAAAAAAAAAAAAEcEAAAKQAAAAn6AAAAAAAAAAAAAAAHHRAAAAABAAAAAgAAAAQaQXBsb3Jpcy5CYXNlLlVJLlZpc3VhbExpbmUDAAAACgoBHhAAACgAAAAJ/gAAAAAAAAAAAAAAAR8QAAApAAAACfoAAAAAAAAAAAAAAAcgEAAAAAEAAAACAAAABBpBcGxvcmlzLkJhc2UuVUkuVmlzdWFsTGluZQMAAAAKCgEhEAAAKAAAAAn+AAAAAAAAAAAAAAABIhAAACkAAAAJ+gAAAAAAAAAAAAAAByMQAAAAAQAAAAIAAAAEGkFwbG9yaXMuQmFzZS5VSS5WaXN1YWxMaW5lAwAAAAoKASQQAAAoAAAACf4AAAAAAAAAAAAAAAElEAAAKQAAAAn6AAAAAAAAAAAAAAAHJhAAAAABAAAAAgAAAAQaQXBsb3Jpcy5CYXNlLlVJLlZpc3VhbExpbmUDAAAACgoBJxAAACgAAAAJ/gAAAAAAAAAAAAAAASgQAAApAAAACfoAAAAAAAAAAAAAAAcpEAAAAAEAAAACAAAABBpBcGxvcmlzLkJhc2UuVUkuVmlzdWFsTGluZQMAAAAKCgEqEAAAKAAAAAn+AAAAAAAAAAAAAAABKxAAACkAAAAJ+gAAAAAAAAAAAAAABywQAAAAAQAAAAIAAAAEGkFwbG9yaXMuQmFzZS5VSS5WaXN1YWxMaW5lAwAAAAoKAS0QAAAoAAAACf4AAAAAAAAAAAAAAAEuEAAAKQAAAAn6AAAAAAAAAAAAAAAHLxAAAAABAAAAAgAAAAQaQXBsb3Jpcy5CYXNlLlVJLlZpc3VhbExpbmUDAAAACgoBMBAAACgAAAAJ/gAAAAAAAAAAAAAAATEQAAApAAAACfoAAAAAAAAAAAAAAAcyEAAAAAEAAAACAAAABBpBcGxvcmlzLkJhc2UuVUkuVmlzdWFsTGluZQMAAAAKCgEzEAAAKAAAAAn+AAAAAAAAAAAAAAABNBAAACkAAAAJ+gAAAAAAAAAAAAAABzUQAAAAAQAAAAIAAAAEGkFwbG9yaXMuQmFzZS5VSS5WaXN1YWxMaW5lAwAAAAoKATYQAAAoAAAACf4AAAAAAAAAAAAAAAE3EAAAKQAAAAn6AAAAAAAAAAAAAAABOBAAAGMBAAAKWAIAAAE9FAAA6gIAAAIAAAABPhQAAOsCAAABAAAAAT8UAAAUAAAAIgR2Q7U4/kKA2qk/0EGdQAFAFAAA7QIAAAAAAAAAAKBAAAFBFAAAJAAAAPytdkNikQFDAUIUAABnAAAAAAAAAAAAAAAAAAAAAAlDFAAAAAAAAAlEFAAAAAAAAUUUAABqAAAAAAAAAAFGFAAAawAAAAAAoEAAAFBBAUcUAAAUAAAASZJzQwAA+kKZ3LpASZIUQekmkT8GSBQAAAE4CglJFAAACfYCAAA0AwAA/////wEBCglKFAAAAQAKAAE5EAAAHgAAAAFLFAAAJAAAACIEc0NpBgdDAUwUAAAkAAAA11d6Q7U4+EIJTRQAAAlOFAAAAAAAAAoBTxQAAGsAAAAAAAAAAAAAAAFQFAAAawAAAAAAAAAAAAAAAAAAAAFRFAAAFAAAAAAAAAAAAAAAAAAAAAAAAACkAQAA/////wEBCglSFAAAAQAKAAc6EAAAAAEAAAACAAAABBpBcGxvcmlzLkJhc2UuVUkuVmlzdWFsTGluZQMAAAAKCgc7EAAAAAEAAAADAAAABBVTeXN0ZW0uRHJhd2luZy5Qb2ludEYEAAAAAVMUAAAkAAAA/K12Q2KRAUMBVBQAACQAAAAiBHBDYpEBQwFVFAAAJAAAANZXfUNikQFDBzwQAAAAAQAAAAMAAAAEF0FwbG9yaXMuQmFzZS5BbmNob3JNb2RlAwAAAAFWFAAAZwAAAAAAAAABVxQAAGcAAAACAAAAAVgUAABnAAAABAAAAAE9EAAAKAAAAAn+AAAAAAAAAAAAAAABPhAAACkAAAAJWRQAAAIAAAACAAAABz8QAAAAAQAAAAIAAAAEGkFwbG9yaXMuQmFzZS5VSS5WaXN1YWxMaW5lAwAAAAoKAUAQAAAoAAAACf4AAAAAAAAAAAAAAAFBEAAAKQAAAAn6AAAAAAAAAAAAAAAHQhAAAAABAAAAAgAAAAQaQXBsb3Jpcy5CYXNlLlVJLlZpc3VhbExpbmUDAAAACgoBQxAAACgAAAAJ/gAAAAAAAAAAAAAAAUQQAAApAAAACfoAAAAAAAAAAAAAAAdFEAAAAAEAAAACAAAABBpBcGxvcmlzLkJhc2UuVUkuVmlzdWFsTGluZQMAAAAKCgFGEAAAKAAAAAn+AAAAAAAAAAAAAAABRxAAACkAAAAJ+gAAAAAAAAAAAAAAB0gQAAAAAQAAAAIAAAAEGkFwbG9yaXMuQmFzZS5VSS5WaXN1YWxMaW5lAwAAAAoKAUkQAAAoAAAACf4AAAAAAAAAAAAAAAFKEAAAKQAAAAn6AAAAAAAAAAAAAAAHSxAAAAABAAAAAgAAAAQaQXBsb3Jpcy5CYXNlLlVJLlZpc3VhbExpbmUDAAAACgoBTBAAACgAAAAJ/gAAAAAAAAAAAAAAAU0QAAApAAAACfoAAAAAAAAAAAAAAAdOEAAAAAEAAAACAAAABBpBcGxvcmlzLkJhc2UuVUkuVmlzdWFsTGluZQMAAAAKCgFPEAAAKAAAAAn+AAAAAAAAAAAAAAABUBAAACkAAAAJ+gAAAAAAAAAAAAAAB1EQAAAAAQAAAAIAAAAEGkFwbG9yaXMuQmFzZS5VSS5WaXN1YWxMaW5lAwAAAAoKAVIQAAAoAAAACf4AAAAAAAAAAAAAAAFTEAAAKQAAAAn6AAAAAAAAAAAAAAAHVBAAAAABAAAAAgAAAAQaQXBsb3Jpcy5CYXNlLlVJLlZpc3VhbExpbmUDAAAACgoBVRAAACgAAAAJ/gAAAAAAAAAAAAAAAVYQAAApAAAACfoAAAAAAAAAAAAAAAdXEAAAAAEAAAACAAAABBpBcGxvcmlzLkJhc2UuVUkuVmlzdWFsTGluZQMAAAAKCgFYEAAAKAAAAAn+AAAAAAAAAAAAAAABWRAAACkAAAAJ+gAAAAAAAAAAAAAAB1oQAAAAAQAAAAIAAAAEGkFwbG9yaXMuQmFzZS5VSS5WaXN1YWxMaW5lAwAAAAoKAVsQAAAoAAAACf4AAAAAAAAAAAAAAAFcEAAAKQAAAAn6AAAAAAAAAAAAAAAHXRAAAAABAAAAAgAAAAQaQXBsb3Jpcy5CYXNlLlVJLlZpc3VhbExpbmUDAAAACgoBXhAAACgAAAAJ/gAAAAAAAAAAAAAAAV8QAAApAAAACfoAAAAAAAAAAAAAAAdgEAAAAAEAAAACAAAABBpBcGxvcmlzLkJhc2UuVUkuVmlzdWFsTGluZQMAAAAKCgFhEAAAKAAAAAn+AAAAAAAAAAAAAAABYhAAACkAAAAJ+gAAAAAAAAAAAAAAB2MQAAAAAQAAAAIAAAAEGkFwbG9yaXMuQmFzZS5VSS5WaXN1YWxMaW5lAwAAAAoKAWQQAAAoAAAACf4AAAAAAAAAAAAAAAFlEAAAKQAAAAn6AAAAAAAAAAAAAAAHZhAAAAABAAAAAgAAAAQaQXBsb3Jpcy5CYXNlLlVJLlZpc3VhbExpbmUDAAAACgoBZxAAACgAAAAJ/gAAAAAAAAAAAAAAAWgQAAApAAAACfoAAAAAAAAAAAAAAAdpEAAAAAEAAAACAAAABBpBcGxvcmlzLkJhc2UuVUkuVmlzdWFsTGluZQMAAAAKCgFqEAAAKAAAAAn+AAAAAAAAAAAAAAABaxAAACkAAAAJ+gAAAAAAAAAAAAAAB2wQAAAAAQAAAAIAAAAEGkFwbG9yaXMuQmFzZS5VSS5WaXN1YWxMaW5lAwAAAAoKAW0QAAAoAAAACf4AAAAAAAAAAAAAAAFuEAAAKQAAAAn6AAAAAAAAAAAAAAAHbxAAAAABAAAAAgAAAAQaQXBsb3Jpcy5CYXNlLlVJLlZpc3VhbExpbmUDAAAACgoBcBAAACgAAAAJ/gAAAAAAAAAAAAAAAXEQAAApAAAACfoAAAAAAAAAAAAAAAdyEAAAAAEAAAACAAAABBpBcGxvcmlzLkJhc2UuVUkuVmlzdWFsTGluZQMAAAAKCgFzEAAAKAAAAAn+AAAAAAAAAAAAAAABdBAAACkAAAAJ+gAAAAAAAAAAAAAAB3UQAAAAAQAAAAIAAAAEGkFwbG9yaXMuQmFzZS5VSS5WaXN1YWxMaW5lAwAAAAoKAXYQAAAoAAAACf4AAAAAAAAAAAAAAAF3EAAAKQAAAAn6AAAAAAAAAAAAAAAHeBAAAAABAAAAAgAAAAQaQXBsb3Jpcy5CYXNlLlVJLlZpc3VhbExpbmUDAAAACgoBeRAAACgAAAAJ/gAAAAAAAAAAAAAAAXoQAAApAAAACfoAAAAAAAAAAAAAAAd7EAAAAAEAAAACAAAABBpBcGxvcmlzLkJhc2UuVUkuVmlzdWFsTGluZQMAAAAKCgF8EAAAKAAAAAn+AAAAAAAAAAAAAAABfRAAACkAAAAJ+gAAAAAAAAAAAAAAB34QAAAAAQAAAAIAAAAEGkFwbG9yaXMuQmFzZS5VSS5WaXN1YWxMaW5lAwAAAAoKAX8QAAAoAAAACf4AAAAAAAAAAAAAAAGAEAAAKQAAAAn6AAAAAAAAAAAAAAABgRAAAGMBAAAKWAIAAAFaFAAA6gIAAAIAAAABWxQAAOsCAAABAAAAAVwUAAAUAAAAqw64Q2KRBEPAiOpAgMU7QQFdFAAA7QIAAAAAAAAAAKBAAAFeFAAAJAAAALzjuUOObwpDAV8UAABnAAAAAAAAAAAAAAAAAAAAAAlgFAAAAAAAAAlhFAAAAAAAAWIUAABqAAAAAAAAAAFjFAAAawAAAAAAMEEAAFBBAWQUAAAUAAAA3Da3Q0mSBUOWACJBSZIUQekmkT8GZRQAAAIxMwoJZhQAAAn2AgAANAMAAP////8BAQoJZxQAAAEACgABghAAAB4AAAABaBQAACQAAACrjrZDuk0TQwFpFAAAJAAAAM44vUNikQFDCWoUAAAJaxQAAAAAAAAKAWwUAABrAAAAAAAAAAAAAAABbRQAAGsAAAAAAAAAAAAAAAAAAAABbhQAABQAAAAAAAAAAAAAAAAAAAAAAAAApAEAAP////8BAQoJbxQAAAEACgAHgxAAAAABAAAAAgAAAAQaQXBsb3Jpcy5CYXNlLlVJLlZpc3VhbExpbmUDAAAACgoHhBAAAAABAAAAAwAAAAQVU3lzdGVtLkRyYXdpbmcuUG9pbnRGBAAAAAFwFAAAJAAAALzjuUOObwpDAXEUAAAkAAAAqg61Q45vCkMBchQAACQAAADOuL5Djm8KQweFEAAAAAEAAAADAAAABBdBcGxvcmlzLkJhc2UuQW5jaG9yTW9kZQMAAAABcxQAAGcAAAAAAAAAAXQUAABnAAAAAgAAAAF1FAAAZwAAAAQAAAABhhAAACgAAAAJ/gAAAAAAAAAAAAAAAYcQAAApAAAACXYUAAACAAAAAgAAAAeIEAAAAAEAAAACAAAABBpBcGxvcmlzLkJhc2UuVUkuVmlzdWFsTGluZQMAAAAKCgGJEAAAKAAAAAn+AAAAAAAAAAAAAAABihAAACkAAAAJ+gAAAAAAAAAAAAAAB4sQAAAAAQAAAAIAAAAEGkFwbG9yaXMuQmFzZS5VSS5WaXN1YWxMaW5lAwAAAAoKAYwQAAAoAAAACf4AAAAAAAAAAAAAAAGNEAAAKQAAAAn6AAAAAAAAAAAAAAAHjhAAAAABAAAAAgAAAAQaQXBsb3Jpcy5CYXNlLlVJLlZpc3VhbExpbmUDAAAACgoBjxAAACgAAAAJ/gAAAAAAAAAAAAAAAZAQAAApAAAACfoAAAAAAAAAAAAAAAeREAAAAAEAAAACAAAABBpBcGxvcmlzLkJhc2UuVUkuVmlzdWFsTGluZQMAAAAKCgGSEAAAKAAAAAn+AAAAAAAAAAAAAAABkxAAACkAAAAJ+gAAAAAAAAAAAAAAB5QQAAAAAQAAAAIAAAAEGkFwbG9yaXMuQmFzZS5VSS5WaXN1YWxMaW5lAwAAAAoKAZUQAAAoAAAACf4AAAAAAAAAAAAAAAGWEAAAKQAAAAn6AAAAAAAAAAAAAAAHlxAAAAABAAAAAgAAAAQaQXBsb3Jpcy5CYXNlLlVJLlZpc3VhbExpbmUDAAAACgoBmBAAACgAAAAJ/gAAAAAAAAAAAAAAAZkQAAApAAAACfoAAAAAAAAAAAAAAAeaEAAAAAEAAAACAAAABBpBcGxvcmlzLkJhc2UuVUkuVmlzdWFsTGluZQMAAAAKCgGbEAAAKAAAAAn+AAAAAAAAAAAAAAABnBAAACkAAAAJ+gAAAAAAAAAAAAAAB50QAAAAAQAAAAIAAAAEGkFwbG9yaXMuQmFzZS5VSS5WaXN1YWxMaW5lAwAAAAoKAZ4QAAAoAAAACf4AAAAAAAAAAAAAAAGfEAAAKQAAAAn6AAAAAAAAAAAAAAAHoBAAAAABAAAAAgAAAAQaQXBsb3Jpcy5CYXNlLlVJLlZpc3VhbExpbmUDAAAACgoBoRAAACgAAAAJ/gAAAAAAAAAAAAAAAaIQAAApAAAACfoAAAAAAAAAAAAAAAejEAAAAAEAAAACAAAABBpBcGxvcmlzLkJhc2UuVUkuVmlzdWFsTGluZQMAAAAKCgGkEAAAKAAAAAn+AAAAAAAAAAAAAAABpRAAACkAAAAJ+gAAAAAAAAAAAAAAB6YQAAAAAQAAAAIAAAAEGkFwbG9yaXMuQmFzZS5VSS5WaXN1YWxMaW5lAwAAAAoKAacQAAAoAAAACf4AAAAAAAAAAAAAAAGoEAAAKQAAAAn6AAAAAAAAAAAAAAABqRAAAGMBAAAKWAIAAAF3FAAA6gIAAAIAAAABeBQAAOsCAAABAAAAAXkUAAAUAAAADeKbQoh63UJwwKVA2EEGQgF6FAAA7QIAAAAAAAAAAKBAAAF7FAAAJAAAABAQoUL+Cv9CAXwUAABnAAAAAAAAAAAAAAAAAAAAAAl9FAAAAAAAAAl+FAAAAAAAAX8UAABqAAAAAAAAAAGAFAAAawAAAAAAMEEAAFBBAYEUAAAUAAAAt22XQty29UKWACJBSZIUQekmkT8GghQAAAIyOQoJgxQAAAn2AgAANAMAAP////8BAQoJhBQAAAEACgABqhAAAB4AAAABhRQAACQAAAAN4pVCuk0TQwGGFAAAJAAAABQ+rEKIetdCCYcUAAAJiBQAAAAAAAAKAYkUAABrAAAAAAAAAAAAAAABihQAAGsAAAAAAAAAAAAAAAAAAAABixQAABQAAAAAAAAAAAAAAAAAAAAAAAAApAEAAP////8BAQoJjBQAAAEACgAHqxAAAAABAAAAAgAAAAQaQXBsb3Jpcy5CYXNlLlVJLlZpc3VhbExpbmUDAAAACgoHrBAAAAABAAAAAwAAAAQVU3lzdGVtLkRyYXdpbmcuUG9pbnRGBAAAAAGNFAAAJAAAABAQoUL+Cv9CAY4UAAAkAAAADOKPQv4K/0IBjxQAACQAAAAUPrJC/gr/QgetEAAAAAEAAAADAAAABBdBcGxvcmlzLkJhc2UuQW5jaG9yTW9kZQMAAAABkBQAAGcAAAAAAAAAAZEUAABnAAAAAgAAAAGSFAAAZwAAAAQAAAABrhAAACgAAAAJ/gAAAAAAAAAAAAAAAa8QAAApAAAACZMUAAACAAAAAgAAAAewEAAAAAEAAAACAAAABBpBcGxvcmlzLkJhc2UuVUkuVmlzdWFsTGluZQMAAAAKCgGxEAAAKAAAAAn+AAAAAAAAAAAAAAABshAAACkAAAAJ+gAAAAAAAAAAAAAAB7MQAAAAAQAAAAIAAAAEGkFwbG9yaXMuQmFzZS5VSS5WaXN1YWxMaW5lAwAAAAoKAbQQAAAoAAAACf4AAAAAAAAAAAAAAAG1EAAAKQAAAAn6AAAAAAAAAAAAAAAHthAAAAABAAAAAgAAAAQaQXBsb3Jpcy5CYXNlLlVJLlZpc3VhbExpbmUDAAAACgoBtxAAACgAAAAJ/gAAAAAAAAAAAAAAAbgQAAApAAAACfoAAAAAAAAAAAAAAAe5EAAAAAEAAAACAAAABBpBcGxvcmlzLkJhc2UuVUkuVmlzdWFsTGluZQMAAAAKCgG6EAAAKAAAAAn+AAAAAAAAAAAAAAABuxAAACkAAAAJ+gAAAAAAAAAAAAAAB7wQAAAAAQAAAAIAAAAEGkFwbG9yaXMuQmFzZS5VSS5WaXN1YWxMaW5lAwAAAAoKAb0QAAAoAAAACf4AAAAAAAAAAAAAAAG+EAAAKQAAAAn6AAAAAAAAAAAAAAAHvxAAAAABAAAAAgAAAAQaQXBsb3Jpcy5CYXNlLlVJLlZpc3VhbExpbmUDAAAACgoBwBAAACgAAAAJ/gAAAAAAAAAAAAAAAcEQAAApAAAACfoAAAAAAAAAAAAAAAfCEAAAAAEAAAACAAAABBpBcGxvcmlzLkJhc2UuVUkuVmlzdWFsTGluZQMAAAAKCgHDEAAAKAAAAAn+AAAAAAAAAAAAAAABxBAAACkAAAAJ+gAAAAAAAAAAAAAAB8UQAAAAAQAAAAIAAAAEGkFwbG9yaXMuQmFzZS5VSS5WaXN1YWxMaW5lAwAAAAoKAcYQAAAoAAAACf4AAAAAAAAAAAAAAAHHEAAAKQAAAAn6AAAAAAAAAAAAAAAHyBAAAAABAAAAAgAAAAQaQXBsb3Jpcy5CYXNlLlVJLlZpc3VhbExpbmUDAAAACgoByRAAACgAAAAJ/gAAAAAAAAAAAAAAAcoQAAApAAAACfoAAAAAAAAAAAAAAAfLEAAAAAEAAAACAAAABBpBcGxvcmlzLkJhc2UuVUkuVmlzdWFsTGluZQMAAAAKCgHMEAAAKAAAAAn+AAAAAAAAAAAAAAABzRAAACkAAAAJ+gAAAAAAAAAAAAAAB84QAAAAAQAAAAIAAAAEGkFwbG9yaXMuQmFzZS5VSS5WaXN1YWxMaW5lAwAAAAoKAc8QAAAoAAAACf4AAAAAAAAAAAAAAAHQEAAAKQAAAAn6AAAAAAAAAAAAAAAH0RAAAAABAAAAAgAAAAQaQXBsb3Jpcy5CYXNlLlVJLlZpc3VhbExpbmUDAAAACgoB0hAAACgAAAAJ/gAAAAAAAAAAAAAAAdMQAAApAAAACfoAAAAAAAAAAAAAAAfUEAAAAAEAAAACAAAABBpBcGxvcmlzLkJhc2UuVUkuVmlzdWFsTGluZQMAAAAKCgHVEAAAKAAAAAn+AAAAAAAAAAAAAAAB1hAAACkAAAAJ+gAAAAAAAAAAAAAAB9cQAAAAAQAAAAIAAAAEGkFwbG9yaXMuQmFzZS5VSS5WaXN1YWxMaW5lAwAAAAoKAdgQAAAoAAAACf4AAAAAAAAAAAAAAAHZEAAAKQAAAAn6AAAAAAAAAAAAAAAH2hAAAAABAAAAAgAAAAQaQXBsb3Jpcy5CYXNlLlVJLlZpc3VhbExpbmUDAAAACgoB2xAAACgAAAAJ/gAAAAAAAAAAAAAAAdwQAAApAAAACfoAAAAAAAAAAAAAAAfdEAAAAAEAAAACAAAABBpBcGxvcmlzLkJhc2UuVUkuVmlzdWFsTGluZQMAAAAKCgHeEAAAKAAAAAn+AAAAAAAAAAAAAAAB3xAAACkAAAAJ+gAAAAAAAAAAAAAAB+AQAAAAAQAAAAIAAAAEGkFwbG9yaXMuQmFzZS5VSS5WaXN1YWxMaW5lAwAAAAoKAeEQAAAoAAAACf4AAAAAAAAAAAAAAAHiEAAAKQAAAAn6AAAAAAAAAAAAAAAB4xAAAGMBAAAKWAIAAAGUFAAA6gIAAAIAAAABlRQAAOsCAAABAAAAAZYUAAAUAAAAAABUQggAXkEYq+lABAAnQgGXFAAA7QIAAAAAAAAAAKBAAAGYFAAAJAAAALKaYkIEAAtCAZkUAABnAAAAAAAAAAAAAAAAAAAAAAmaFAAAAAAAAAmbFAAAAQAAAZwUAABqAAAAAAAAAAGdFAAAawAAAAAAqEEAAKBBAZ4UAAAUAAAAAAAAAAAAAAAAAAAAAAAAAF662T8GnxQAAAIzNQoJoBQAAAn2AgAANAMAAP////8AAQoJoRQAAAEACgAB5BAAAB4AAAABohQAACQAAAAAAEhCBoBqQgGjFAAAJAAAAGM1fUIIAC5BCaQUAAAJpRQAAAAAAAAKAaYUAABrAAAAAAAAAAAAAAABpxQAAGsAAAAAAAAAAAAAAAAAAAABqBQAABQAAAAAAAAAAAAAAAAAAAAAAAAApAEAAP////8BAQoJqRQAAAEACgAH5RAAAAABAAAAAgAAAAQaQXBsb3Jpcy5CYXNlLlVJLlZpc3VhbExpbmUDAAAACgoH5hAAAAABAAAAAwAAAAQVU3lzdGVtLkRyYXdpbmcuUG9pbnRGBAAAAAGqFAAAJAAAALKaYkIEAAtCAasUAAAkAAAAAAA8QgQAC0IBrBQAACQAAACymoRCBAALQgfnEAAAAAEAAAADAAAABBdBcGxvcmlzLkJhc2UuQW5jaG9yTW9kZQMAAAABrRQAAGcAAAAAAAAAAa4UAABnAAAAAgAAAAGvFAAAZwAAAAQAAAAB6BAAACgAAAAJ/gAAAAAAAAAAAAAAAekQAAApAAAACbAUAAACAAAAAgAAAAHqEAAAYwEAAApYAgAAAbEUAADqAgAAAgAAAAGyFAAA6wIAAAEAAAABsxQAABQAAACymoRCCABeQbh1tEBxW6VCAbQUAADtAgAAAAAAAAAAoEAAAbUUAAAkAAAAXz6KQnPbXEIBthQAAGcAAAAAAAAAAAAAAAAAAAAACbcUAAAAAAAACbgUAAABAAABuRQAAGoAAAAAAAAAAboUAABrAAAAAACoQQAAoEEBuxQAABQAAAAAAAAAAAAAAAAAAAAAAAAAXrrZPwa8FAAAAjY1Cgm9FAAACfYCAAA0AwAA/////wABCgm+FAAAAQAKAAHrEAAAHgAAAAG/FAAAJAAAAGM1fUJyG8dCAcAUAAAkAAAADeKVQggALkEJwRQAAAnCFAAAAAAAAAoBwxQAAGsAAAAAAAAAAAAAAAHEFAAAawAAAAAAAAAAAAAAAAAAAAHFFAAAFAAAAAAAAAAAAAAAAAAAAAAAAACkAQAA/////wEBCgnGFAAAAQAKAAfsEAAAAAEAAAACAAAABBpBcGxvcmlzLkJhc2UuVUkuVmlzdWFsTGluZQMAAAAKCgftEAAAAAEAAAADAAAABBVTeXN0ZW0uRHJhd2luZy5Qb2ludEYEAAAAAccUAAAkAAAAXz6KQnPbXEIByBQAACQAAABiNXFCc9tcQgHJFAAAJAAAAA3im0Jz21xCB+4QAAAAAQAAAAMAAAAEF0FwbG9yaXMuQmFzZS5BbmNob3JNb2RlAwAAAAHKFAAAZwAAAAAAAAAByxQAAGcAAAACAAAAAcwUAABnAAAABAAAAAHvEAAAKAAAAAn+AAAAAAAAAAAAAAAB8BAAACkAAAAJzRQAAAIAAAACAAAAAfEQAABjAQAAClgCAAABzhQAAOoCAAACAAAAAc8UAADrAgAAAQAAAAHQFAAAFAAAAA3im0IIAF5BcMClQIe6tUIB0RQAAO0CAAAAAAAAAACgQAAB0hQAACQAAAAQEKFCiTptQgHTFAAAZwAAAAAAAAAAAAAAAAAAAAAJ1BQAAAAAAAAJ1RQAAAEAAAHWFAAAagAAAAAAAAAB1xQAAGsAAAAAAKhBAACgQQHYFAAAFAAAAAAAAAAAAAAAAAAAAAAAAABeutk/BtkUAAACNzEKCdoUAAAJ9gIAADQDAAD/////AAEKCdsUAAABAAoAAfIQAAAeAAAAAdwUAAAkAAAADeKVQoh610IB3RQAACQAAAAUPqxCCAAuQQneFAAACd8UAAAAAAAACgHgFAAAawAAAAAAAAAAAAAAAeEUAABrAAAAAAAAAAAAAAAAAAAAAeIUAAAUAAAAAAAAAAAAAAAAAAAAAAAAAKQBAAD/////AQEKCeMUAAABAAoAB/MQAAAAAQAAAAIAAAAEGkFwbG9yaXMuQmFzZS5VSS5WaXN1YWxMaW5lAwAAAAoKB/QQAAAAAQAAAAMAAAAEFVN5c3RlbS5EcmF3aW5nLlBvaW50RgQAAAAB5BQAACQAAAAQEKFCiTptQgHlFAAAJAAAAAzij0KJOm1CAeYUAAAkAAAAFD6yQok6bUIH9RAAAAABAAAAAwAAAAQXQXBsb3Jpcy5CYXNlLkFuY2hvck1vZGUDAAAAAecUAABnAAAAAAAAAAHoFAAAZwAAAAIAAAAB6RQAAGcAAAAEAAAAAfYQAAAoAAAACf4AAAAAAAAAAAAAAAH3EAAAKQAAAAnqFAAAAgAAAAIAAAAB+BAAAGMBAAAKWAIAAAHrFAAA6gIAAAIAAAAB7BQAAOsCAAABAAAAAe0UAAAUAAAAFD6yQggAXkEulKdCC3W4QgHuFAAA7QIAAAAAAAAAAKBAAAHvFAAAJAAAABYEA0MN9W9CAfAUAABnAAAAAAAAAAAAAAAAAAAAAAnxFAAAAAAAAAnyFAAAAAAAAfMUAABqAAAAAAAAAAH0FAAAawAAAAAAqEEAAKBBAfUUAAAUAAAAAAAAAAAAAAAAAAAAAAAAAF662T8G9hQAAAI3MgoJ9xQAAAn2AgAANAMAAP////8AAQoJ+BQAAAEACgAB+RAAAB4AAAAB+RQAACQAAAAUPqxCDDXaQgH6FAAAJAAAACHpL0MIAC5BCfsUAAAJ/BQAAAAAAAAKAf0UAABrAAAAAAAAAAAAAAAB/hQAAGsAAAAAAAAAAAAAAAAAAAAB/xQAABQAAAAAAAAAAAAAAAAAAAAAAAAApAEAAP////8BAQoJABUAAAEACgAH+hAAAAABAAAAAgAAAAQaQXBsb3Jpcy5CYXNlLlVJLlZpc3VhbExpbmUDAAAACgoH+xAAAAABAAAAAwAAAAQVU3lzdGVtLkRyYXdpbmcuUG9pbnRGBAAAAAEBFQAAJAAAABYEA0MN9W9CAQIVAAAkAAAAFT6mQg31b0IBAxUAACQAAAAi6TJDDfVvQgf8EAAAAAEAAAADAAAABBdBcGxvcmlzLkJhc2UuQW5jaG9yTW9kZQMAAAABBBUAAGcAAAAAAAAAAQUVAABnAAAAAgAAAAEGFQAAZwAAAAQAAAAB/RAAACgAAAAJ/gAAAAAAAAAAAAAAAf4QAAApAAAACQcVAAACAAAAAgAAAAH/EAAAYwEAAApYAgAAAQgVAADqAgAAAgAAAAEJFQAA6wIAAAEAAAABChUAABQAAAAh6TJDCABeQTghOEILdbhCAQsVAADtAgAAAAAAAAAAoEAAAQwVAAAkAAAASO1JQw31b0IBDRUAAGcAAAAAAAAAAAAAAAAAAAAACQ4VAAAAAAAACQ8VAAAAAAABEBUAAGoAAAAAAAAAAREVAABrAAAAAACoQQAAoEEBEhUAABQAAAAAAAAAAAAAAAAAAAAAAAAAXrrZPwYTFQAAAjcyCgkUFQAACfYCAAA0AwAA/////wABCgkVFQAAAQAKAAEAEQAAHgAAAAEWFQAAJAAAACHpL0MMNdpCARcVAAAkAAAAb/FjQwgALkEJGBUAAAkZFQAAAAAAAAoBGhUAAGsAAAAAAAAAAAAAAAEbFQAAawAAAAAAAAAAAAAAAAAAAAEcFQAAFAAAAAAAAAAAAAAAAAAAAAAAAACkAQAA/////wEBCgkdFQAAAQAKAAcBEQAAAAEAAAACAAAABBpBcGxvcmlzLkJhc2UuVUkuVmlzdWFsTGluZQMAAAAKCgcCEQAAAAEAAAADAAAABBVTeXN0ZW0uRHJhd2luZy5Qb2ludEYEAAAAAR4VAAAkAAAASO1JQw31b0IBHxUAACQAAAAh6SxDDfVvQgEgFQAAJAAAAG/xZkMN9W9CBwMRAAAAAQAAAAMAAAAEF0FwbG9yaXMuQmFzZS5BbmNob3JNb2RlAwAAAAEhFQAAZwAAAAAAAAABIhUAAGcAAAACAAAAASMVAABnAAAABAAAAAEEEQAAKAAAAAn+AAAAAAAAAAAAAAABBREAACkAAAAJJBUAAAIAAAACAAAAAQYRAABjAQAAClgCAAABJRUAAOoCAAACAAAAASYVAADrAgAAAQAAAAEnFQAAFAAAAG/xZkMIAF5BAB3VP6WOy0IBKBUAAO0CAAAAAAAAAACgQAABKRUAACQAAACMxmdDVIeBQgEqFQAAZwAAAAAAAAAAAAAAAAAAAAAJKxUAAAAAAAAJLBUAAAEAAAEtFQAAagAAAAAAAAABLhUAAGsAAAAAAKhBAACgQQEvFQAAFAAAAAAAAAAAAAAAAAAAAAAAAABeutk/BjAVAAACNzkKCTEVAAAJ9gIAADQDAAD/////AAEKCTIVAAABAAoAAQcRAAAeAAAAATMVAAAkAAAAb/FjQ6ZO7UIBNBUAACQAAACpm2tDCAAuQQk1FQAACTYVAAAAAAAACgE3FQAAawAAAAAAAAAAAAAAATgVAABrAAAAAAAAAAAAAAAAAAAAATkVAAAUAAAAAAAAAAAAAAAAAAAAAAAAAKQBAAD/////AQEKCToVAAABAAoABwgRAAAAAQAAAAIAAAAEGkFwbG9yaXMuQmFzZS5VSS5WaXN1YWxMaW5lAwAAAAoKBwkRAAAAAQAAAAMAAAAEFVN5c3RlbS5EcmF3aW5nLlBvaW50RgQAAAABOxUAACQAAACMxmdDVIeBQgE8FQAAJAAAAG/xYENUh4FCAT0VAAAkAAAAqZtuQ1SHgUIHChEAAAABAAAAAwAAAAQXQXBsb3Jpcy5CYXNlLkFuY2hvck1vZGUDAAAAAT4VAABnAAAAAAAAAAE/FQAAZwAAAAIAAAABQBUAAGcAAAAEAAAAAQsRAAAoAAAACf4AAAAAAAAAAAAAAAEMEQAAKQAAAAlBFQAAAgAAAAIAAAABDREAAGMBAAAKWAIAAAFCFQAA6gIAAAIAAAABQxUAAOsCAAABAAAAAUQVAAAUAAAAqZtuQwgAXkGAPLQ/ML7TQgFFFQAA7QIAAAAAAAAAAKBAAAFGFQAAJAAAAOZPb0MZn4VCAUcVAABnAAAAAAAAAAAAAAAAAAAAAAlIFQAAAAAAAAlJFQAAAQAAAUoVAABqAAAAAAAAAAFLFQAAawAAAAAAqEEAAKBBAUwVAAAUAAAAAAAAAAAAAAAAAAAAAAAAAF662T8GTRUAAAI4MgoJThUAAAn2AgAANAMAAP////8AAQoJTxUAAAEACgABDhEAAB4AAAABUBUAACQAAACpm2tDMX71QgFRFQAAJAAAACIEc0MIAC5BCVIVAAAJUxUAAAAAAAAKAVQVAABrAAAAAAAAAAAAAAABVRUAAGsAAAAAAAAAAAAAAAAAAAABVhUAABQAAAAAAAAAAAAAAAAAAAAAAAAApAEAAP////8BAQoJVxUAAAEACgAHDxEAAAABAAAAAgAAAAQaQXBsb3Jpcy5CYXNlLlVJLlZpc3VhbExpbmUDAAAACgoHEBEAAAABAAAAAwAAAAQVU3lzdGVtLkRyYXdpbmcuUG9pbnRGBAAAAAFYFQAAJAAAAOZPb0MZn4VCAVkVAAAkAAAAqptoQxmfhUIBWhUAACQAAAAiBHZDGZ+FQgcREQAAAAEAAAADAAAABBdBcGxvcmlzLkJhc2UuQW5jaG9yTW9kZQMAAAABWxUAAGcAAAAAAAAAAVwVAABnAAAAAgAAAAFdFQAAZwAAAAQAAAABEhEAACgAAAAJ/gAAAAAAAAAAAAAAARMRAAApAAAACV4VAAACAAAAAgAAAAEUEQAAYwEAAApYAgAAAV8VAADqAgAAAgAAAAFgFQAA6wIAAAEAAAABYRUAABQAAAAiBHZDCABeQYDaqT+0eNZCAWIVAADtAgAAAAAAAAAAoEAAAWMVAAAkAAAA/K12Q1v8hkIBZBUAAGcAAAAAAAAAAAAAAAAAAAAACWUVAAAAAAAACWYVAAABAAABZxUAAGoAAAAAAAAAAWgVAABrAAAAAACoQQAAoEEBaRUAABQAAAAAAAAAAAAAAAAAAAAAAAAAXrrZPwZqFQAAAjgzCglrFQAACfYCAAA0AwAA/////wABCglsFQAAAQAKAAEVEQAAHgAAAAFtFQAAJAAAACIEc0O1OPhCAW4VAAAkAAAA11d6QwgALkEJbxUAAAlwFQAAAAAAAAoBcRUAAGsAAAAAAAAAAAAAAAFyFQAAawAAAAAAAAAAAAAAAAAAAAFzFQAAFAAAAAAAAAAAAAAAAAAAAAAAAACkAQAA/////wEBCgl0FQAAAQAKAAcWEQAAAAEAAAACAAAABBpBcGxvcmlzLkJhc2UuVUkuVmlzdWFsTGluZQMAAAAKCgcXEQAAAAEAAAADAAAABBVTeXN0ZW0uRHJhd2luZy5Qb2ludEYEAAAAAXUVAAAkAAAA/K12Q1v8hkIBdhUAACQAAAAiBHBDW/yGQgF3FQAAJAAAANZXfUNb/IZCBxgRAAAAAQAAAAMAAAAEF0FwbG9yaXMuQmFzZS5BbmNob3JNb2RlAwAAAAF4FQAAZwAAAAAAAAABeRUAAGcAAAACAAAAAXoVAABnAAAABAAAAAEZEQAAKAAAAAn+AAAAAAAAAAAAAAABGhEAACkAAAAJexUAAAIAAAACAAAAARsRAABjAQAAClgCAAABfBUAAOoCAAACAAAAAX0VAADrAgAAAQAAAAF+FQAAFAAAANdXfUMIAF5BKFmmQT+o3kIBfxUAAO0CAAAAAAAAAACgQAABgBUAACQAAAC13oNDIBSLQgGBFQAAZwAAAAAAAAAAAAAAAAAAAAAJghUAAAAAAAAJgxUAAAAAAAGEFQAAagAAAAAAAAABhRUAAGsAAAAAAKhBAACgQQGGFQAAFAAAAAAAAAAAAAAAAAAAAAAAAABeutk/BocVAAACODYKCYgVAAAJ9gIAADQDAAD/////AAEKCYkVAAABAAoAARwRAAAeAAAAAYoVAAAkAAAA11d6QyA0AEMBixUAACQAAAB+kYpDCAAuQQmMFQAACY0VAAAAAAAACgGOFQAAawAAAAAAAAAAAAAAAY8VAABrAAAAAAAAAAAAAAAAAAAAAZAVAAAUAAAAAAAAAAAAAAAAAAAAAAAAAKQBAAD/////AQEKCZEVAAABAAoABx0RAAAAAQAAAAIAAAAEGkFwbG9yaXMuQmFzZS5VSS5WaXN1YWxMaW5lAwAAAAoKBx4RAAAAAQAAAAMAAAAEFVN5c3RlbS5EcmF3aW5nLlBvaW50RgQAAAABkhUAACQAAAC13oNDIBSLQgGTFQAAJAAAANhXd0MgFItCAZQVAAAkAAAAfhGMQyAUi0IHHxEAAAABAAAAAwAAAAQXQXBsb3Jpcy5CYXNlLkFuY2hvck1vZGUDAAAAAZUVAABnAAAAAAAAAAGWFQAAZwAAAAIAAAABlxUAAGcAAAAEAAAAASARAAAoAAAACf4AAAAAAAAAAAAAAAEhEQAAKQAAAAmYFQAAAgAAAAIAAAABIhEAAGMBAAAKWAIAAAGZFQAA6gIAAAIAAAABmhUAAOsCAAABAAAAAZsVAAAUAAAAfhGMQwgAXkG09KNCw2LhQgGcFQAA7QIAAAAAAAAAAKBAAAGdFQAAJAAAABSQoENicYxCAZ4VAABnAAAAAAAAAAAAAAAAAAAAAAmfFQAAAAAAAAmgFQAAAAAAAaEVAABqAAAAAAAAAAGiFQAAawAAAAAAqEEAAKBBAaMVAAAUAAAAAAAAAAAAAAAAAAAAAAAAAF662T8GpBUAAAI4NwoJpRUAAAn2AgAANAMAAP////8AAQoJphUAAAEACgABIxEAAB4AAAABpxUAACQAAAB+kYpDYpEBQwGoFQAAJAAAAKuOtkMIAC5BCakVAAAJqhUAAAAAAAAKAasVAABrAAAAAAAAAAAAAAABrBUAAGsAAAAAAAAAAAAAAAAAAAABrRUAABQAAAAAAAAAAAAAAAAAAAAAAAAApAEAAP////8BAQoJrhUAAAEACgAHJBEAAAABAAAAAgAAAAQaQXBsb3Jpcy5CYXNlLlVJLlZpc3VhbExpbmUDAAAACgoHJREAAAABAAAAAwAAAAQVU3lzdGVtLkRyYXdpbmcuUG9pbnRGBAAAAAGvFQAAJAAAABSQoENicYxCAbAVAAAkAAAAfhGJQ2JxjEIBsRUAACQAAACqDrhDYnGMQgcmEQAAAAEAAAADAAAABBdBcGxvcmlzLkJhc2UuQW5jaG9yTW9kZQMAAAABshUAAGcAAAAAAAAAAbMVAABnAAAAAgAAAAG0FQAAZwAAAAQAAAABJxEAACgAAAAJ/gAAAAAAAAAAAAAAASgRAAApAAAACbUVAAACAAAAAgAAAAEpEQAAYwEAAApYAgAAAbYVAADqAgAAAgAAAAG3FQAA6wIAAAEAAAABuBUAABQAAACrDrhDCABeQcCI6kDDYuFCAbkVAADtAgAAAAAAAAAAoEAAAboVAAAkAAAAvOO5Q2JxjEIBuxUAAGcAAAAAAAAAAAAAAAAAAAAACbwVAAAAAAAACb0VAAABAAABvhUAAGoAAAAAAAAAAb8VAABrAAAAAACoQQAAoEEBwBUAABQAAAAAAAAAAAAAAAAAAAAAAAAAXrrZPwbBFQAAAjg3CgnCFQAACfYCAAA0AwAA/////wABCgnDFQAAAQAKAAEqEQAAHgAAAAHEFQAAJAAAAKuOtkNikQFDAcUVAAAkAAAAzji9QwgALkEJxhUAAAnHFQAAAAAAAAoByBUAAGsAAAAAAAAAAAAAAAHJFQAAawAAAAAAAAAAAAAAAAAAAAHKFQAAFAAAAAAAAAAAAAAAAAAAAAAAAACkAQAA/////wEBCgnLFQAAAQAKAAcrEQAAAAEAAAACAAAABBpBcGxvcmlzLkJhc2UuVUkuVmlzdWFsTGluZQMAAAAKCgcsEQAAAAEAAAADAAAABBVTeXN0ZW0uRHJhd2luZy5Qb2ludEYEAAAAAcwVAAAkAAAAvOO5Q2JxjEIBzRUAACQAAACqDrVDYnGMQgHOFQAAJAAAAM64vkNicYxCBy0RAAAAAQAAAAMAAAAEF0FwbG9yaXMuQmFzZS5BbmNob3JNb2RlAwAAAAHPFQAAZwAAAAAAAAAB0BUAAGcAAAACAAAAAdEVAABnAAAABAAAAAEuEQAAKAAAAAn+AAAAAAAAAAAAAAABLxEAACkAAAAJ0hUAAAIAAAACAAAAATARAABjAQAAClgCAAAB0xUAAOoCAAACAAAAAdQVAADrAgAAAQAAAAHVFQAAFAAAAM64vkMIAF5BABBuQEcd5EIB1hUAAO0CAAAAAAAAAACgQAAB1xUAACQAAADepr9DpM6NQgHYFQAAZwAAAAAAAAAAAAAAAAAAAAAJ2RUAAAAAAAAJ2hUAAAEAAAHbFQAAagAAAAAAAAAB3BUAAGsAAAAAAKhBAACgQQHdFQAAFAAAAAAAAAAAAAAAAAAAAAAAAABeutk/Bt4VAAACODgKCd8VAAAJ9gIAADQDAAD/////AAEKCeAVAAABAAoAATERAAAeAAAAAeEVAAAkAAAAzji9Q6TuAkMB4hUAACQAAADuFMJDCAAuQQnjFQAACeQVAAAAAAAACgHlFQAAawAAAAAAAAAAAAAAAeYVAABrAAAAAAAAAAAAAAAAAAAAAecVAAAUAAAAAAAAAAAAAAAAAAAAAAAAAKQBAAD/////AQEKCegVAAABAAoABzIRAAAAAQAAAAIAAAAEGkFwbG9yaXMuQmFzZS5VSS5WaXN1YWxMaW5lAwAAAAoKBzMRAAAAAQAAAAMAAAAEFVN5c3RlbS5EcmF3aW5nLlBvaW50RgQAAAAB6RUAACQAAADepr9DpM6NQgHqFQAAJAAAAM64u0Okzo1CAesVAAAkAAAA7pTDQ6TOjUIHNBEAAAABAAAAAwAAAAQXQXBsb3Jpcy5CYXNlLkFuY2hvck1vZGUDAAAAAewVAABnAAAAAAAAAAHtFQAAZwAAAAIAAAAB7hUAAGcAAAAEAAAAATURAAAoAAAACf4AAAAAAAAAAAAAAAE2EQAAKQAAAAnvFQAAAgAAAAIAAAABNxEAAGMBAAAKWAIAAAHwFQAA6gIAAAIAAAAB8RUAAOsCAAABAAAAAfIVAAAUAAAA7pTDQwgAXkEg8whBy9fmQgHzFQAA7QIAAAAAAAAAAKBAAAH0FQAAJAAAALq4xUPmK49CAfUVAABnAAAAAAAAAAAAAAAAAAAAAAn2FQAAAAAAAAn3FQAAAQAAAfgVAABqAAAAAAAAAAH5FQAAawAAAAAAqEEAAKBBAfoVAAAUAAAAAAAAAAAAAAAAAAAAAAAAAF662T8G+xUAAAI4OQoJ/BUAAAn2AgAANAMAAP////8AAQoJ/RUAAAEACgABOBEAAB4AAAAB/hUAACQAAADuFMJD5ksEQwH/FQAAJAAAAIdcyUMIAC5BCQAWAAAJARYAAAAAAAAKAQIWAABrAAAAAAAAAAAAAAABAxYAAGsAAAAAAAAAAAAAAAAAAAABBBYAABQAAAAAAAAAAAAAAAAAAAAAAAAApAEAAP////8BAQoJBRYAAAEACgAHOREAAAABAAAAAgAAAAQaQXBsb3Jpcy5CYXNlLlVJLlZpc3VhbExpbmUDAAAACgoHOhEAAAABAAAAAwAAAAQVU3lzdGVtLkRyYXdpbmcuUG9pbnRGBAAAAAEGFgAAJAAAALq4xUPmK49CAQcWAAAkAAAA7pTAQ+Yrj0IBCBYAACQAAACG3MpD5iuPQgc7EQAAAAEAAAADAAAABBdBcGxvcmlzLkJhc2UuQW5jaG9yTW9kZQMAAAABCRYAAGcAAAAAAAAAAQoWAABnAAAAAgAAAAELFgAAZwAAAAQAAAABPBEAACgAAAAJ/gAAAAAAAAAAAAAAAT0RAAApAAAACQwWAAACAAAAAgAAAAE+EQAAYwEAAApYAgAAAQ0WAADqAgAAAgAAAAEOFgAA6wIAAAEAAAABDxYAABQAAACH3MpDCABeQcDZh0FNkulCARAWAADtAgAAAAAAAAAAoEAAAREWAAAkAAAAVRvPQyiJkEIBEhYAAGcAAAAAAAAAAAAAAAAAAAAACRMWAAAAAAAACRQWAAAAAAABFRYAAGoAAAAAAAAAARYWAABrAAAAAACoQQAAoEEBFxYAABQAAAAAAAAAAAAAAAAAAAAAAAAAXrrZPwYYFgAAAjkwCgkZFgAACfYCAAA0AwAA/////wABCgkaFgAAAQAKAAE/EQAAHgAAAAEbFgAAJAAAAIdcyUMnqQVDARwWAAAkAAAAI9rUQwgALkEJHRYAAAkeFgAAAAAAAAoBHxYAAGsAAAAAAAAAAAAAAAEgFgAAawAAAAAAAAAAAAAAAAAAAAEhFgAAFAAAAAAAAAAAAAAAAAAAAAAAAACkAQAA/////wEBCgkiFgAAAQAKAAdAEQAAAAEAAAACAAAABBpBcGxvcmlzLkJhc2UuVUkuVmlzdWFsTGluZQMAAAAKCgdBEQAAAAEAAAADAAAABBVTeXN0ZW0uRHJhd2luZy5Qb2ludEYEAAAAASMWAAAkAAAAVRvPQyiJkEIBJBYAACQAAACH3MdDKImQQgElFgAAJAAAACNa1kMoiZBCB0IRAAAAAQAAAAMAAAAEF0FwbG9yaXMuQmFzZS5BbmNob3JNb2RlAwAAAAEmFgAAZwAAAAAAAAABJxYAAGcAAAACAAAAASgWAABnAAAABAAAAAFDEQAAKAAAAAn+AAAAAAAAAAAAAAABRBEAACkAAAAJKRYAAAIAAAACAAAAAUURAABjAQAAClgCAAABKhYAAOoCAAACAAAAASsWAADrAgAAAQAAAAEsFgAAFAAAACNa1kMIAF5BoPkDQdnB8UIBLRYAAO0CAAAAAAAAAACgQAABLhYAACQAAAAKathD7qCUQgEvFgAAZwAAAAAAAAAAAAAAAAAAAAAJMBYAAAAAAAAJMRYAAAEAAAEyFgAAagAAAAAAAAABMxYAAGsAAAAAAKhBAACgQQE0FgAAFAAAAAAAAAAAAAAAAAAAAAAAAABeutk/BjUWAAACOTMKCTYWAAAJ9gIAADQDAAD/////AAEKCTcWAAABAAoAAUYRAAAeAAAAATgWAAAkAAAAI9rUQ+3ACUMBORYAACQAAADw+dtDCAAuQQk6FgAACTsWAAAAAAAACgE8FgAAawAAAAAAAAAAAAAAAT0WAABrAAAAAAAAAAAAAAAAAAAAAT4WAAAUAAAAAAAAAAAAAAAAAAAAAAAAAKQBAAD/////AQEKCT8WAAABAAoAB0cRAAAAAQAAAAIAAAAEGkFwbG9yaXMuQmFzZS5VSS5WaXN1YWxMaW5lAwAAAAoKB0gRAAAAAQAAAAMAAAAEFVN5c3RlbS5EcmF3aW5nLlBvaW50RgQAAAABQBYAACQAAAAKathD7qCUQgFBFgAAJAAAACRa00PuoJRCAUIWAAAkAAAA8HndQ+6glEIHSREAAAABAAAAAwAAAAQXQXBsb3Jpcy5CYXNlLkFuY2hvck1vZGUDAAAAAUMWAABnAAAAAAAAAAFEFgAAZwAAAAIAAAABRRYAAGcAAAAEAAAAAUoRAAAoAAAACf4AAAAAAAAAAAAAAAFLEQAAKQAAAAlGFgAAAgAAAAIAAAABTBEAAGMBAAAKWAIAAAFHFgAA6gIAAAIAAAABSBYAAOsCAAABAAAAAUkWAAAUAAAA8HndQwgAXkEAPtBC4Db3QgFKFgAA7QIAAAAAAAAAAKBAAAFLFgAAJAAAALCB90NyW5dCAUwWAABnAAAAAAAAAAAAAAAAAAAAAAlNFgAAAAAAAAlOFgAAAAAAAU8WAABqAAAAAAAAAAFQFgAAawAAAAAAqEEAAKBBAVEWAAAUAAAAAAAAAAAAAAAAAAAAAAAAAF662T8GUhYAAAI5NQoJUxYAAAn2AgAANAMAAP////8AAQoJVBYAAAEACgABTREAAB4AAAABVRYAACQAAADw+dtDcXsMQwFWFgAAJAAAALiECUQIAC5BCVcWAAAJWBYAAAAAAAAKAVkWAABrAAAAAAAAAAAAAAABWhYAAGsAAAAAAAAAAAAAAAAAAAABWxYAABQAAAAAAAAAAAAAAAAAAAAAAAAApAEAAP////8BAQoJXBYAAAEACgAHThEAAAABAAAAAgAAAAQaQXBsb3Jpcy5CYXNlLlVJLlZpc3VhbExpbmUDAAAACgoHTxEAAAABAAAAAwAAAAQVU3lzdGVtLkRyYXdpbmcuUG9pbnRGBAAAAAFdFgAAJAAAALCB90NyW5dCAV4WAAAkAAAA8HnaQ3Jbl0IBXxYAACQAAAC4RApEcluXQgdQEQAAAAEAAAADAAAABBdBcGxvcmlzLkJhc2UuQW5jaG9yTW9kZQMAAAABYBYAAGcAAAAAAAAAAWEWAABnAAAAAgAAAAFiFgAAZwAAAAQAAAABUREAACgAAAAJ/gAAAAAAAAAAAAAAAVIRAAApAAAACWMWAAACAAAAAgAAAAFTEQAAYwEAAApYAgAAAWQWAADqAgAAAgAAAAFlFgAA6wIAAAEAAAABZhYAABQAAAC4RApECABeQRjRmEJk8flCAWcWAADtAgAAAAAAAAAAoEAAAWgWAAAkAAAAytETRLS4mEIBaRYAAGcAAAAAAAAAAAAAAAAAAAAACWoWAAAAAAAACWsWAAAAAAABbBYAAGoAAAAAAAAAAW0WAABrAAAAAACoQQAAoEEBbhYAABQAAAAAAAAAAAAAAAAAAAAAAAAAXrrZPwZvFgAAAjk2CglwFgAACfYCAAA0AwAA/////wABCglxFgAAAQAKAAFUEQAAHgAAAAFyFgAAJAAAALiECUSz2A1DAXMWAAAkAAAA2x4eRAgALkEJdBYAAAl1FgAAAAAAAAoBdhYAAGsAAAAAAAAAAAAAAAF3FgAAawAAAAAAAAAAAAAAAAAAAAF4FgAAFAAAAAAAAAAAAAAAAAAAAAAAAACkAQAA/////wEBCgl5FgAAAQAKAAdVEQAAAAEAAAACAAAABBpBcGxvcmlzLkJhc2UuVUkuVmlzdWFsTGluZQMAAAAKCgdWEQAAAAEAAAADAAAABBVTeXN0ZW0uRHJhd2luZy5Qb2ludEYEAAAAAXoWAAAkAAAAytETRLS4mEIBexYAACQAAAC4xAhEtLiYQgF8FgAAJAAAANzeHkS0uJhCB1cRAAAAAQAAAAMAAAAEF0FwbG9yaXMuQmFzZS5BbmNob3JNb2RlAwAAAAF9FgAAZwAAAAAAAAABfhYAAGcAAAACAAAAAX8WAABnAAAABAAAAAFYEQAAKAAAAAn+AAAAAAAAAAAAAAABWREAACkAAAAJgBYAAAIAAAACAAAAAVoRAABjAQAAClgCAAABgRYAAOoCAAACAAAAAYIWAADrAgAAAQAAAAGDFgAAFAAAANveHkQIAF5BQIwTQWTx+UIBhBYAAO0CAAAAAAAAAACgQAABhRYAACQAAAD0BSBEtLiYQgGGFgAAZwAAAAAAAAAAAAAAAAAAAAAJhxYAAAAAAAAJiBYAAAEAAAGJFgAAagAAAAAAAAABihYAAGsAAAAAAKhBAACgQQGLFgAAFAAAAAAAAAAAAAAAAAAAAAAAAABeutk/BowWAAACOTYKCY0WAAAJ9gIAADQDAAD/////AAEKCY4WAAABAAoAAVsRAAAeAAAAAY8WAAAkAAAA2x4eRLPYDUMBkBYAACQAAAAM7SFECAAuQQmRFgAACZIWAAAAAAAACgGTFgAAawAAAAAAAAAAAAAAAZQWAABrAAAAAAAAAAAAAAAAAAAAAZUWAAAUAAAAAAAAAAAAAAAAAAAAAAAAAKQBAAD/////AQEKCZYWAAABAAoAB1wRAAAAAQAAAAIAAAAEGkFwbG9yaXMuQmFzZS5VSS5WaXN1YWxMaW5lAwAAAAoKB10RAAAAAQAAAAMAAAAEFVN5c3RlbS5EcmF3aW5nLlBvaW50RgQAAAABlxYAACQAAAD0BSBEtLiYQgGYFgAAJAAAANxeHUS0uJhCAZkWAAAkAAAADK0iRLS4mEIHXhEAAAABAAAAAwAAAAQXQXBsb3Jpcy5CYXNlLkFuY2hvck1vZGUDAAAAAZoWAABnAAAAAAAAAAGbFgAAZwAAAAIAAAABnBYAAGcAAAAEAAAAAV8RAAAoAAAACf4AAAAAAAAAAAAAAAFgEQAAKQAAAAmdFgAAAgAAAAIAAAABYREAAGMBAAAKWAIAAAGeFgAA6gIAAAIAAAABnxYAAOsCAAABAAAAAaAWAAAUAAAADK0iRAgAXkEAAP5Aum0CQwGhFgAA7QIAAAAAAAAAAKBAAAGiFgAAJAAAAAyrI0S6LZ5CAaMWAABnAAAAAAAAAAAAAAAAAAAAAAmkFgAAAAAAAAmlFgAAAQAAAaYWAABqAAAAAAAAAAGnFgAAawAAAAAAqEEAAKBBAagWAAAUAAAAAAAAAAAAAAAAAAAAAAAAAF662T8GqRYAAAMxMDAKCaoWAAAJ9gIAADQDAAD/////AAEKCasWAAABAAoAAWIRAAAeAAAAAawWAAAkAAAADO0hRLpNE0MBrRYAACQAAAAMaSVECAAuQQmuFgAACa8WAAAAAAAACgGwFgAAawAAAAAAAAAAAAAAAbEWAABrAAAAAAAAAAAAAAAAAAAAAbIWAAAUAAAAAAAAAAAAAAAAAAAAAAAAAKQBAAD/////AQEKCbMWAAABAAoAB2MRAAAAAQAAAAIAAAAEGkFwbG9yaXMuQmFzZS5VSS5WaXN1YWxMaW5lAwAAAAoKB2QRAAAAAQAAAAMAAAAEFVN5c3RlbS5EcmF3aW5nLlBvaW50RgQAAAABtBYAACQAAAAMqyNEui2eQgG1FgAAJAAAAAwtIUS6LZ5CAbYWAAAkAAAADCkmRLotnkIHZREAAAABAAAAAwAAAAQXQXBsb3Jpcy5CYXNlLkFuY2hvck1vZGUDAAAAAbcWAABnAAAAAAAAAAG4FgAAZwAAAAIAAAABuRYAAGcAAAAEAAAAAWYRAAAoAAAACf4AAAAAAAAAAAAAAAFnEQAAKQAAAAm6FgAAAgAAAAIAAAABaBEAAGMBAAAKWAIAAAG7FgAA6gIAAAIAAAABvBYAAOsCAAABAAAAAb0WAAAUAAAADCkmRAgAXkHgk2JCum0CQwG+FgAA7QIAAAAAAAAAAKBAAAG/FgAAJAAAAKs9LUS6LZ5CAcAWAABnAAAAAAAAAAAAAAAAAAAAAAnBFgAAAAAAAAnCFgAAAAAAAcMWAABqAAAAAAAAAAHEFgAAawAAAAAAqEEAAKBBAcUWAAAUAAAAAAAAAAAAAAAAAAAAAAAAAF662T8GxhYAAAMxMDAKCccWAAAJ9gIAADQDAAD/////AAEKCcgWAAABAAoAAWkRAAAeAAAAAckWAAAkAAAADGklRLpNE0MByhYAACQAAABKEjVECAAuQQnLFgAACcwWAAAAAAAACgHNFgAAawAAAAAAAAAAAAAAAc4WAABrAAAAAAAAAAAAAAAAAAAAAc8WAAAUAAAAAAAAAAAAAAAAAAAAAAAAAKQBAAD/////AQEKCdAWAAABAAoAB2oRAAAAAQAAAAIAAAAEGkFwbG9yaXMuQmFzZS5VSS5WaXN1YWxMaW5lAwAAAAoKB2sRAAAAAQAAAAMAAAAEFVN5c3RlbS5EcmF3aW5nLlBvaW50RgQAAAAB0RYAACQAAACrPS1Eui2eQgHSFgAAJAAAAAypJES6LZ5CAdMWAAAkAAAAStI1RLotnkIHbBEAAAABAAAAAwAAAAQXQXBsb3Jpcy5CYXNlLkFuY2hvck1vZGUDAAAAAdQWAABnAAAAAAAAAAHVFgAAZwAAAAIAAAAB1hYAAGcAAAAEAAAAAW0RAAAoAAAACf4AAAAAAAAAAAAAAAFuEQAAKQAAAAnXFgAAAgAAAAIAAAABbxEAABcAAAAB2BYAACQAAACymmJCcLt9QwHZFgAAZwAAAAAAAAAAAAAAAAAAAAAJ2hYAAAAAh0MJ2xYAAAAAAAHcFgAAagAAAAAAAAAB3RYAAGsAAAAAAHBBAABwQQHeFgAAFAAAANy2TUJuW4JDqUBUQbdtK0HHS6M/CXARAAAKCd8WAAAJ9gIAADQDAAD/////AQEKCeAWAAABAAoAAXERAAAoAAAACf4AAAAAAAAAAAAAAAFyEQAAKQAAAAnhFgAAAQAAAAEAAAABcxEAABcAAAAB4hYAACQAAABfPopCcLt9QwHjFgAAZwAAAAAAAAAAAAAAAAAAAAAJ5BYAAAAAh0MJ5RYAAAAAAAHmFgAAagAAAAAAAAAB5xYAAGsAAAAAAHBBAABwQQHoFgAAFAAAACVJfkJuW4JDqUBUQbdtK0HHS6M/CXQRAAAKCekWAAAJ9gIAADQDAAD/////AQEKCeoWAAABAAoAAXURAAAoAAAACf4AAAAAAAAAAAAAAAF2EQAAKQAAAAnrFgAAAQAAAAEAAAABdxEAABcAAAAB7BYAACQAAAAQEKFCcLt9QwHtFgAAZwAAAAAAAAAAAAAAAAAAAAAJ7hYAAAAAh0MJ7xYAAAAAAAHwFgAAagAAAAAAAAAB8RYAAGsAAAAAAHBBAABwQQHyFgAAFAAAAAAAlkJuW4JDqUBUQbdtK0HHS6M/CXgRAAAKCfMWAAAJ9gIAADQDAAD/////AQEKCfQWAAABAAoAAXkRAAAoAAAACf4AAAAAAAAAAAAAAAF6EQAAKQAAAAn1FgAAAQAAAAEAAAABexEAABcAAAAB9hYAACQAAAAWBANDcLt9QwH3FgAAZwAAAAAAAAAAAAAAAAAAAAAJ+BYAAAAAh0MJ+RYAAAAAAAH6FgAAagAAAAAAAAAB+xYAAGsAAAAAAHBBAABwQQH8FgAAFAAAALdt+0JuW4JDqUBUQbdtK0HHS6M/CXwRAAAKCf0WAAAJ9gIAADQDAAD/////AQEKCf4WAAABAAoAAX0RAAAoAAAACf4AAAAAAAAAAAAAAAF+EQAAKQAAAAn/FgAAAQAAAAEAAAABfxEAABcAAAABABcAACQAAABI7UlDcLt9QwEBFwAAZwAAAAAAAAAAAAAAAAAAAAAJAhcAAAAAh0MJAxcAAAAAAAEEFwAAagAAAAAAAAABBRcAAGsAAAAAAHBBAABwQQEGFwAAFAAAALdtRENuW4JDqUBUQbdtK0HHS6M/CYARAAAKCQcXAAAJ9gIAADQDAAD/////AQEKCQgXAAABAAoAAYERAAAoAAAACf4AAAAAAAAAAAAAAAGCEQAAKQAAAAkJFwAAAQAAAAEAAAABgxEAABcAAAABChcAACQAAACMxmdDcLt9QwELFwAAZwAAAAAAAAAAAAAAAAAAAAAJDBcAAAAAh0MJDRcAAAAAAAEOFwAAagAAAAAAAAABDxcAAGsAAAAAAHBBAABwQQEQFwAAFAAAALdtYkNuW4JDqUBUQbdtK0HHS6M/CYQRAAAKCREXAAAJ9gIAADQDAAD/////AQEKCRIXAAABAAoAAYURAAAoAAAACf4AAAAAAAAAAAAAAAGGEQAAKQAAAAkTFwAAAQAAAAEAAAABhxEAABcAAAABFBcAACQAAADmT29DcLt9QwEVFwAAZwAAAAAAAAAAAAAAAAAAAAAJFhcAAAAAh0MJFxcAAAAAAAEYFwAAagAAAAAAAAABGRcAAGsAAAAAAHBBAABwQQEaFwAAFAAAACVJakNuW4JDqUBUQbdtK0HHS6M/CYQRAAAKCRsXAAAJ9gIAADQDAAD/////AQEKCRwXAAABAAoAAYgRAAAoAAAACf4AAAAAAAAAAAAAAAGJEQAAKQAAAAkdFwAAAQAAAAEAAAABihEAABcAAAABHhcAACQAAAD8rXZDcLt9QwEfFwAAZwAAAAAAAAAAAAAAAAAAAAAJIBcAAAAAh0MJIRcAAAAAAAEiFwAAagAAAAAAAAABIxcAAGsAAAAAAHBBAABwQQEkFwAAFAAAALdtcUNuW4JDqUBUQbdtK0HHS6M/CYsRAAAKCSUXAAAJ9gIAADQDAAD/////AQEKCSYXAAABAAoAAYwRAAAoAAAACf4AAAAAAAAAAAAAAAGNEQAAKQAAAAknFwAAAQAAAAEAAAABjhEAABcAAAABKBcAACQAAAC13oNDcLt9QwEpFwAAZwAAAAAAAAAAAAAAAAAAAAAJKhcAAAAAh0MJKxcAAAAAAAEsFwAAagAAAAAAAAABLRcAAGsAAAAAAHBBAABwQQEuFwAAFAAAACVJgUNuW4JDqUBUQbdtK0HHS6M/CY8RAAAKCS8XAAAJ9gIAADQDAAD/////AQEKCTAXAAABAAoAAZARAAAoAAAACf4AAAAAAAAAAAAAAAGREQAAKQAAAAkxFwAAAQAAAAEAAAABkhEAABcAAAABMhcAACQAAAAUkKBDcLt9QwEzFwAAZwAAAAAAAAAAAAAAAAAAAAAJNBcAAAAAh0MJNRcAAAAAAAE2FwAAagAAAAAAAAABNxcAAGsAAAAAAHBBAABwQQE4FwAAFAAAAG7bnUNuW4JDqUBUQbdtK0HHS6M/CZMRAAAKCTkXAAAJ9gIAADQDAAD/////AQEKCToXAAABAAoAAZQRAAAoAAAACf4AAAAAAAAAAAAAAAGVEQAAKQAAAAk7FwAAAQAAAAEAAAABlhEAABcAAAABPBcAACQAAAC847lDcLt9QwE9FwAAZwAAAAAAAAAAAAAAAAAAAAAJPhcAAAAAh0MJPxcAAAAAAAFAFwAAagAAAAAAAAABQRcAAGsAAAAAAHBBAABwQQFCFwAAFAAAANw2t0NuW4JDqUBUQbdtK0HHS6M/CXARAAAKCUMXAAAJ9gIAADQDAAD/////AQEKCUQXAAABAAoAAZcRAAAoAAAACf4AAAAAAAAAAAAAAAGYEQAAKQAAAAlFFwAAAQAAAAEAAAABmREAABcAAAABRhcAACQAAADepr9DcLt9QwFHFwAAZwAAAAAAAAAAAAAAAAAAAAAJSBcAAAAAh0MJSRcAAAAAAAFKFwAAagAAAAAAAAABSxcAAGsAAAAAAHBBAABwQQFMFwAAFAAAALftvENuW4JDqUBUQbdtK0HHS6M/CXARAAAKCU0XAAAJ9gIAADQDAAD/////AQEKCU4XAAABAAoAAZoRAAAoAAAACf4AAAAAAAAAAAAAAAGbEQAAKQAAAAlPFwAAAQAAAAEAAAABnBEAABcAAAABUBcAACQAAAC6uMVDcLt9QwFRFwAAZwAAAAAAAAAAAAAAAAAAAAAJUhcAAAAAh0MJUxcAAAAAAAFUFwAAagAAAAAAAAABVRcAAGsAAAAAAHBBAABwQQFWFwAAFAAAAAAAw0NuW4JDqUBUQbdtK0HHS6M/CZ0RAAAKCVcXAAAJ9gIAADQDAAD/////AQEKCVgXAAABAAoAAZ4RAAAoAAAACf4AAAAAAAAAAAAAAAGfEQAAKQAAAAlZFwAAAQAAAAEAAAABoBEAABcAAAABWhcAACQAAABVG89DcLt9QwFbFwAAZwAAAAAAAAAAAAAAAAAAAAAJXBcAAAAAh0MJXRcAAAAAAAFeFwAAagAAAAAAAAABXxcAAGsAAAAAAHBBAABwQQFgFwAAFAAAACVJzENuW4JDqUBUQbdtK0HHS6M/CY8RAAAKCWEXAAAJ9gIAADQDAAD/////AQEKCWIXAAABAAoAAaERAAAoAAAACf4AAAAAAAAAAAAAAAGiEQAAKQAAAAljFwAAAQAAAAEAAAABoxEAABcAAAABZBcAACQAAAAKathDcLt9QwFlFwAAZwAAAAAAAAAAAAAAAAAAAAAJZhcAAAAAh0MJZxcAAAAAAAFoFwAAagAAAAAAAAABaRcAAGsAAAAAAHBBAABwQQFqFwAAFAAAAEmS1UNuW4JDqUBUQbdtK0HHS6M/CaQRAAAKCWsXAAAJ9gIAADQDAAD/////AQEKCWwXAAABAAoAAaURAAAoAAAACf4AAAAAAAAAAAAAAAGmEQAAKQAAAAltFwAAAQAAAAEAAAABpxEAABcAAAABbhcAACQAAACwgfdDcLt9QwFvFwAAZwAAAAAAAAAAAAAAAAAAAAAJcBcAAAAAh0MJcRcAAAAAAAFyFwAAagAAAAAAAAABcxcAAGsAAAAAAHBBAABwQQF0FwAAFAAAAAAA9UNuW4JDqUBUQbdtK0HHS6M/CaQRAAAKCXUXAAAJ9gIAADQDAAD/////AQEKCXYXAAABAAoAAagRAAAoAAAACf4AAAAAAAAAAAAAAAGpEQAAKQAAAAl3FwAAAQAAAAEAAAABqhEAABcAAAABeBcAACQAAADK0RNEcLt9QwF5FwAAZwAAAAAAAAAAAAAAAAAAAAAJehcAAAAAh0MJexcAAAAAAAF8FwAAagAAAAAAAAABfRcAAGsAAAAAAHBBAABwQQF+FwAAFAAAALdtEkRuW4JDqUBUQbdtK0HHS6M/CaQRAAAKCX8XAAAJ9gIAADQDAAD/////AQEKCYAXAAABAAoAAasRAAAoAAAACf4AAAAAAAAAAAAAAAGsEQAAKQAAAAmBFwAAAQAAAAEAAAABrREAABcAAAABghcAACQAAAD0BSBEcLt9QwGDFwAAZwAAAAAAAAAAAAAAwAAAAAAJhBcAAAAAh0MJhRcAAAAAAAGGFwAAagAAAAAAAAABhxcAAGsAAAAAAHBBAABwQQGIFwAAFAAAANw2HkRuW4JDqUBUQbdtK0HHS6M/Ca4RAAAKCYkXAAAJ9gIAADQDAAD/////AQEKCYoXAAABAAoAAa8RAAAoAAAACf4AAAAAAAAAAAAAAAGwEQAAKQAAAAmLFwAAAQAAAAEAAAABsREAABcAAAABjBcAACQAAAAMqyNEcLt9QwGNFwAAZwAAAAAAAAAAAAAAQAAAAAAJjhcAAAAAh0MJjxcAAAAAAAGQFwAAagAAAAAAAAABkRcAAGsAAAAAAHBBAABwQQGSFwAAFAAAAG7bIkRuW4JDqUBUQbdtK0HHS6M/CbIRAAAKCZMXAAAJ9gIAADQDAAD/////AQEKCZQXAAABAAoAAbMRAAAoAAAACf4AAAAAAAAAAAAAAAG0EQAAKQAAAAmVFwAAAQAAAAEAAAABtREAABcAAAABlhcAACQAAACrPS1EcLt9QwGXFwAAZwAAAAAAAAAAAAAAAAAAAAAJmBcAAAAAh0MJmRcAAAAAAAGaFwAAagAAAAAAAAABmxcAAGsAAAAAAHBBAABwQQGcFwAAFAAAANz2K0RuW4JDqUBUQbdtK0HHS6M/CXgRAAAKCZ0XAAAJ9gIAADQDAAD/////AQEKCZ4XAAABAAoAAbYRAAAoAAAACf4AAAAAAAAAAAAAAAG3EQAAKQAAAAmfFwAAAQAAAAEAAAABDhIAACYAAAAKCgAAAAAAAEEJhwAAAAoJoBcAAAAACaEXAAABDxIAAGkAAAAKCgEAAADITkgA/////wAAARQSAABuAAAACaIXAAABAAAAAQAAAAEVEgAAcAAAAAmjFwAACgEYEgAAgQAAAAoKAAAAQD8JpBcAAAmlFwAAAQAAAP7///8AAAAAAQAAAAAAAAAAAAAAAQAAAAAAAAAAAAABGRIAAIIAAAAKCgmmFwAACacXAAABAAAA/v///wAAAAD/////AAABHRIAAHAAAAAJqBcAAAoHJBIAAAABAAAABAAAAAQcQXBsb3Jpcy5CYXNlLlVJLlZpc3VhbE9iamVjdAMAAAAJYwsAAAliCwAACgoHKxIAAAABAAAABAAAAAQcQXBsb3Jpcy5CYXNlLlVJLlZpc3VhbE9iamVjdAMAAAANBAcyEgAAAAEAAAAEAAAABBxBcGxvcmlzLkJhc2UuVUkuVmlzdWFsT2JqZWN0AwAAAA0EATkSAAAmAAAACgoAAAAAAABBCYcAAAAKCakXAAAAAAmqFwAAAToSAABpAAAACgoBAAAAyE5IAP////8AAAE/EgAAbgAAAAmrFwAAAQAAAAMAAAABQBIAAHAAAAAJrBcAAAoBQxIAAIEAAAAKCgAAAEA/Ca0XAAAJrhcAAAEAAAD+////AAAAAAEAAAAAAAAAAAAAAAEAAAAAAAAAAAAAAUQSAACCAAAACgoJrxcAAAmwFwAAAQAAAP7///8AAAAA/////wAAAUgSAABwAAAACbEXAAAKB08SAAAAAQAAAAQAAAAEHEFwbG9yaXMuQmFzZS5VSS5WaXN1YWxPYmplY3QDAAAACdcLAAAJ1gsAAAoKAVYSAAAmAAAACgoAAAAAAABBCYcAAAAKCbIXAAAAAAmzFwAAAVcSAABpAAAACgoBAAAAyE5IAP////8AAQFcEgAAbgAAAAm0FwAAAQAAAAMAAAABXRIAAHAAAAAJtRcAAAoBYBIAAIEAAAAKCgAAAEA/CbYXAAAJtxcAAAEAAAD+////AAAAAAEAAAAAAAAAAAAAAAEAAAAAAAAAAAAAAWESAACCAAAACgoJuBcAAAm5FwAAAQAAAP7///8AAAAA/////wAAAWUSAABwAAAACboXAAAKB2wSAAAAAQAAAAQAAAAEHEFwbG9yaXMuQmFzZS5VSS5WaXN1YWxPYmplY3QDAAAACf8LAAAJ/gsAAAoKAXMSAAAmAAAACgoAAAAAAABBCYcAAAAKCbsXAAAAAAm8FwAAAXQSAABpAAAACgoBAAAAyE5IAP////8AAAF5EgAAbgAAAAm9FwAAAQAAAAMAAAABehIAAHAAAAAJvhcAAAoBfRIAAIEAAAAKCgAAAEA/Cb8XAAAJwBcAAAEAAAD+////AAAAAAEAAAAAAAAAAAAAAAEAAAAAAAAAAAAAAX4SAACCAAAACgoJwRcAAAnCFwAAAQAAAP7///8AAAAA/////wAAAYISAABwAAAACcMXAAAKB4kSAAAAAQAAAAQAAAAEHEFwbG9yaXMuQmFzZS5VSS5WaXN1YWxPYmplY3QDAAAACUUMAAAJRAwAAAoKAZASAAAmAAAACgoAAAAAAABBCYcAAAAKCcQXAAAAAAnFFwAAAZESAABpAAAACgoBAAAAyE5IAP////8AAAGWEgAAbgAAAAnGFwAAAQAAAAMAAAABlxIAAHAAAAAJxxcAAAoBmhIAAIEAAAAKCgAAAEA/CcgXAAAJyRcAAAEAAAD+////AAAAAAEAAAAAAAAAAAAAAAEAAAAAAAAAAAAAAZsSAACCAAAACgoJyhcAAAnLFwAAAQAAAP7///8AAAAA/////wAAAZ8SAABwAAAACcwXAAAKB6YSAAAAAQAAAAQAAAAEHEFwbG9yaXMuQmFzZS5VSS5WaXN1YWxPYmplY3QDAAAACYUMAAAJhAwAAAoKAa0SAAAmAAAACgoAAAAAAABBCYcAAAAKCc0XAAAAAAnOFwAAAa4SAABpAAAACgoBAAAAyE5IAP////8AAAGzEgAAbgAAAAnPFwAAAQAAAAMAAAABtBIAAHAAAAAJ0BcAAAoBtxIAAIEAAAAKCgAAAEA/CdEXAAAJ0hcAAAEAAAD+////AAAAAAEAAAAAAAAAAAAAAAEAAAAAAAAAAAAAAbgSAACCAAAACgoJ0xcAAAnUFwAAAQAAAP7///8AAAAA/////wAAAbwSAABwAAAACdUXAAAKB8MSAAAAAQAAAAQAAAAEHEFwbG9yaXMuQmFzZS5VSS5WaXN1YWxPYmplY3QDAAAACc4MAAAJzQwAAAoKAcoSAAAmAAAACgoAAAAAAABBCYcAAAAKCdYXAAAAAAnXFwAAAcsSAABpAAAACgoBAAAAyE5IAP////8AAAHQEgAAbgAAAAnYFwAAAQAAAAMAAAAB0RIAAHAAAAAJ2RcAAAoB1BIAAIEAAAAKCgAAAEA/CdoXAAAJ2xcAAAEAAAD+////AAAAAAEAAAAAAAAAAAAAAAEAAAAAAAAAAAAAAdUSAACCAAAACgoJ3BcAAAndFwAAAQAAAP7///8AAAAA/////wAAAdkSAABwAAAACd4XAAAKB+ASAAAAAQAAAAQAAAAEHEFwbG9yaXMuQmFzZS5VSS5WaXN1YWxPYmplY3QDAAAACfMMAAAJ8gwAAAoKAecSAAAmAAAACgoAAAAAAABBCYcAAAAKCd8XAAAAAAngFwAAAegSAABpAAAACgoBAAAAyE5IAP////8AAAHtEgAAbgAAAAnhFwAAAQAAAAMAAAAB7hIAAHAAAAAJ4hcAAAoB8RIAAIEAAAAKCgAAAEA/CeMXAAAJ5BcAAAEAAAD+////AAAAAAEAAAAAAAAAAAAAAAEAAAAAAAAAAAAAAfISAACCAAAACgoJ5RcAAAnmFwAAAQAAAP7///8AAAAA/////wAAAfYSAABwAAAACecXAAAKB/0SAAAAAQAAAAQAAAAEHEFwbG9yaXMuQmFzZS5VSS5WaXN1YWxPYmplY3QDAAAACTYNAAAJNQ0AAAoKAQQTAAAmAAAACgoAAAAAAABBCYcAAAAKCegXAAAAAAnpFwAAAQUTAABpAAAACgoBAAAAyE5IAP////8AAQEKEwAAbgAAAAnqFwAAAQAAAAMAAAABCxMAAHAAAAAJ6xcAAAoBDhMAAIEAAAAKCgAAAEA/CewXAAAJ7RcAAAEAAAD+////AAAAAAEAAAAAAAAAAAAAAAEAAAAAAAAAAAAAAQ8TAACCAAAACgoJ7hcAAAnvFwAAAQAAAP7///8AAAAA/////wAAARMTAABwAAAACfAXAAAKBxoTAAAAAQAAAAQAAAAEHEFwbG9yaXMuQmFzZS5VSS5WaXN1YWxPYmplY3QDAAAACW0NAAAJbA0AAAoKASETAAAmAAAACgoAAAAAAABBCYcAAAAKCfEXAAAAAAnyFwAAASITAABpAAAACgoBAAAAyE5IAP////8AAAEnEwAAbgAAAAnzFwAAAQAAAAMAAAABKBMAAHAAAAAJ9BcAAAoBKxMAAIEAAAAKCgAAAEA/CfUXAAAJ9hcAAAEAAAD+////AAAAAAEAAAAAAAAAAAAAAAEAAAAAAAAAAAAAASwTAACCAAAACgoJ9xcAAAn4FwAAAQAAAP7///8AAAAA/////wAAATATAABwAAAACfkXAAAKBzcTAAAAAQAAAAQAAAAEHEFwbG9yaXMuQmFzZS5VSS5WaXN1YWxPYmplY3QDAAAACdENAAAJ0A0AAAoKAT4TAAAmAAAACgoAAAAAAABBCYcAAAAKCfoXAAAAAAn7FwAAAT8TAABpAAAACgoBAAAAyE5IAP////8AAAFEEwAAbgAAAAn8FwAAAQAAAAMAAAABRRMAAHAAAAAJ/RcAAAoBSBMAAIEAAAAKCgAAAEA/Cf4XAAAJ/xcAAAEAAAD+////AAAAAAEAAAAAAAAAAAAAAAEAAAAAAAAAAAAAAUkTAACCAAAACgoJABgAAAkBGAAAAQAAAP7///8AAAAA/////wAAAU0TAABwAAAACQIYAAAKB1QTAAAAAQAAAAQAAAAEHEFwbG9yaXMuQmFzZS5VSS5WaXN1YWxPYmplY3QDAAAACQgOAAAJBw4AAAoKAVsTAAAmAAAACgoAAAAAAABBCYcAAAAKCQMYAAAAAAkEGAAAAVwTAABpAAAACgoBAAAAyE5IAP////8AAAFhEwAAbgAAAAkFGAAAAQAAAAMAAAABYhMAAHAAAAAJBhgAAAoBZRMAAIEAAAAKCgAAAEA/CQcYAAAJCBgAAAEAAAD+////AAAAAAEAAAAAAAAAAAAAAAEAAAAAAAAAAAAAAWYTAACCAAAACgoJCRgAAAkKGAAAAQAAAP7///8AAAAA/////wAAAWoTAABwAAAACQsYAAAKB3ETAAAAAQAAAAQAAAAEHEFwbG9yaXMuQmFzZS5VSS5WaXN1YWxPYmplY3QDAAAACUgOAAAJRw4AAAoKAXgTAAAmAAAACgoAAAAAAABBCYcAAAAKCQwYAAAAAAkNGAAAAXkTAABpAAAACgoBAAAAyE5IAP////8AAAF+EwAAbgAAAAkOGAAAAQAAAAMAAAABfxMAAHAAAAAJDxgAAAoBghMAAIEAAAAKCgAAAEA/CRAYAAAJERgAAAEAAAD+////AAAAAAEAAAAAAAAAAAAAAAEAAAAAAAAAAAAAAYMTAACCAAAACgoJEhgAAAkTGAAAAQAAAP7///8AAAAA/////wAAAYcTAABwAAAACRQYAAAKB44TAAAAAQAAAAQAAAAEHEFwbG9yaXMuQmFzZS5VSS5WaXN1YWxPYmplY3QDAAAACWQOAAAJYw4AAAoKAZUTAAAmAAAACgoAAAAAAABBCYcAAAAKCRUYAAAAAAkWGAAAAZYTAABpAAAACgoBAAAAyE5IAP////8AAAGbEwAAbgAAAAkXGAAAAQAAAAMAAAABnBMAAHAAAAAJGBgAAAoBnxMAAIEAAAAKCgAAAEA/CRkYAAAJGhgAAAEAAAD+////AAAAAAEAAAAAAAAAAAAAAAEAAAAAAAAAAAAAAaATAACCAAAACgoJGxgAAAkcGAAAAQAAAP7///8AAAAA/////wAAAaQTAABwAAAACR0YAAAKB6sTAAAAAQAAAAQAAAAEHEFwbG9yaXMuQmFzZS5VSS5WaXN1YWxPYmplY3QDAAAACaQOAAAJow4AAAoKAbITAAAmAAAACgoAAAAAAABBCYcAAAAKCR4YAAAAAAkfGAAAAbMTAABpAAAACgoBAAAAyE5IAP////8AAAG4EwAAbgAAAAkgGAAAAQAAAAMAAAABuRMAAHAAAAAJIRgAAAoBvBMAAIEAAAAKCgAAAEA/CSIYAAAJIxgAAAEAAAD+////AAAAAAEAAAAAAAAAAAAAAAEAAAAAAAAAAAAAAb0TAACCAAAACgoJJBgAAAklGAAAAQAAAP7///8AAAAA/////wAAAcETAABwAAAACSYYAAAKB8gTAAAAAQAAAAQAAAAEHEFwbG9yaXMuQmFzZS5VSS5WaXN1YWxPYmplY3QDAAAACRQPAAAJEw8AAAoKAc8TAAAmAAAACgoAAAAAAABBCYcAAAAKCScYAAAAAAkoGAAAAdATAABpAAAACgoBAAAAyE5IAP////8AAQHVEwAAbgAAAAkpGAAAAQAAAAMAAAAB1hMAAHAAAAAJKhgAAAoB2RMAAIEAAAAKCgAAAEA/CSsYAAAJLBgAAAEAAAD+////AAAAAAEAAAAAAAAAAAAAAAEAAAAAAAAAAAAAAdoTAACCAAAACgoJLRgAAAkuGAAAAQAAAP7///8AAAAA/////wAAAd4TAABwAAAACS8YAAAKB+UTAAAAAQAAAAQAAAAEHEFwbG9yaXMuQmFzZS5VSS5WaXN1YWxPYmplY3QDAAAACUsPAAAJSg8AAAoKAewTAAAmAAAACgoAAAAAAABBCYcAAAAKCTAYAAAAAAkxGAAAAe0TAABpAAAACgoBAAAAyE5IAP////8AAQHyEwAAbgAAAAkyGAAAAQAAAAMAAAAB8xMAAHAAAAAJMxgAAAoB9hMAAIEAAAAKCgAAAEA/CTQYAAAJNRgAAAEAAAD+////AAAAAAEAAAAAAAAAAAAAAAEAAAAAAAAAAAAAAfcTAACCAAAACgoJNhgAAAk3GAAAAQAAAP7///8AAAAA/////wAAAfsTAABwAAAACTgYAAAKBwIUAAAAAQAAAAQAAAAEHEFwbG9yaXMuQmFzZS5VSS5WaXN1YWxPYmplY3QDAAAACXAPAAAJbw8AAAoKAQkUAAAmAAAACgoAAAAAABBBCYcAAAAKCTkYAAAAAAk6GAAAAQoUAABpAAAACgoBAAAAyE5IAP////8AAQEPFAAAbgAAAAk7GAAAAQAAAAMAAAABEBQAAHAAAAAJPBgAAAoBExQAAIEAAAAKCgAAAEA/CT0YAAAJPhgAAAEAAAD+////AAAAAAEAAAAAAAAAAAAAAAEAAAAAAAAAAAAAARQUAACCAAAACgoJPxgAAAlAGAAAAQAAAP7///8AAAAA/////wAAARgUAABwAAAACUEYAAAKBx8UAAAAAQAAAAQAAAAEHEFwbG9yaXMuQmFzZS5VSS5WaXN1YWxPYmplY3QDAAAACbwPAAAJuw8AAAoKASYUAAAmAAAACgoAAAAAAABBCYcAAAAKCUIYAAAAAAlDGAAAAScUAABpAAAACgoBAAAAyE5IAP////8AAAEsFAAAbgAAAAlEGAAAAQAAAAMAAAABLRQAAHAAAAAJRRgAAAoBMBQAAIEAAAAKCgAAAEA/CUYYAAAJRxgAAAEAAAD+////AAAAAAEAAAAAAAAAAAAAAAEAAAAAAAAAAAAAATEUAACCAAAACgoJSBgAAAlJGAAAAQAAAP7///8AAAAA/////wAAATUUAABwAAAACUoYAAAKBzwUAAAAAQAAAAQAAAAEHEFwbG9yaXMuQmFzZS5VSS5WaXN1YWxPYmplY3QDAAAACfkPAAAJ+A8AAAoKAUMUAAAmAAAACgoAAAAAAABBCYcAAAAKCUsYAAAAAAlMGAAAAUQUAABpAAAACgoBAAAAyE5IAP////8AAAFJFAAAbgAAAAlNGAAAAQAAAAMAAAABShQAAHAAAAAJThgAAAoBTRQAAIEAAAAKCgAAAEA/CU8YAAAJUBgAAAEAAAD+////AAAAAAEAAAAAAAAAAAAAAAEAAAAAAAAAAAAAAU4UAACCAAAACgoJURgAAAlSGAAAAQAAAP7///8AAAAA/////wAAAVIUAABwAAAACVMYAAAKB1kUAAAAAQAAAAQAAAAEHEFwbG9yaXMuQmFzZS5VSS5WaXN1YWxPYmplY3QDAAAACTkQAAAJOBAAAAoKAWAUAAAmAAAACgoAAAAAAABBCYcAAAAKCVQYAAAAAAlVGAAAAWEUAABpAAAACgoBAAAAyE5IAP////8AAAFmFAAAbgAAAAlWGAAAAQAAAAMAAAABZxQAAHAAAAAJVxgAAAoBahQAAIEAAAAKCgAAAEA/CVgYAAAJWRgAAAEAAAD+////AAAAAAEAAAAAAAAAAAAAAAEAAAAAAAAAAAAAAWsUAACCAAAACgoJWhgAAAlbGAAAAQAAAP7///8AAAAA/////wAAAW8UAABwAAAACVwYAAAKB3YUAAAAAQAAAAQAAAAEHEFwbG9yaXMuQmFzZS5VSS5WaXN1YWxPYmplY3QDAAAACYIQAAAJgRAAAAoKAX0UAAAmAAAACgoAAAAAAABBCYcAAAAKCV0YAAAAAAleGAAAAX4UAABpAAAACgoBAAAAyE5IAP////8AAAGDFAAAbgAAAAlfGAAAAQAAAAMAAAABhBQAAHAAAAAJYBgAAAoBhxQAAIEAAAAKCgAAAEA/CWEYAAAJYhgAAAEAAAD+////AAAAAAEAAAAAAAAAAAAAAAEAAAAAAAAAAAAAAYgUAACCAAAACgoJYxgAAAlkGAAAAQAAAP7///8AAAAA/////wAAAYwUAABwAAAACWUYAAAKB5MUAAAAAQAAAAQAAAAEHEFwbG9yaXMuQmFzZS5VSS5WaXN1YWxPYmplY3QDAAAACaoQAAAJqRAAAAoKBZoU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kFwbG9yaXMuQ2hhcnQuQ2hhcnREYXRhRWxlbWVudAIAAAABAQELGkFwbG9yaXMuQmFzZS5PYmplY3RzLkNvbG9yAwAAAAEBGkFwbG9yaXMuQmFzZS5PYmplY3RzLkNvbG9yAwAAAAMAAAAJZwoAAAoAAAAAAEBBCYcAAAAKCWYYAAABAAlnGAAAAZsUAABpAAAACgoBAAAA5+fnAP////8AAAGgFAAAbgAAAAloGAAAAQAAAAMAAAABoRQAAHAAAAAJaRgAAAoBpBQAAIEAAAAKCgAAAEA/CWoYAAAJaxgAAAEAAAD+////AAAAAAEAAAAAAAAAAAAAAAEAAAAAAAAAAAAAAaUUAACCAAAACgoJbBgAAAltGAAAAQAAAP7///8AAAAA/////wAAAakUAABwAAAACW4YAAAKB7AUAAAAAQAAAAQAAAAEHEFwbG9yaXMuQmFzZS5VSS5WaXN1YWxPYmplY3QDAAAACeQQAAAJ4xAAAAoKBbcU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kFwbG9yaXMuQ2hhcnQuQ2hhcnREYXRhRWxlbWVudAIAAAABAQELGkFwbG9yaXMuQmFzZS5PYmplY3RzLkNvbG9yAwAAAAEBGkFwbG9yaXMuQmFzZS5PYmplY3RzLkNvbG9yAwAAAAMAAAAJaAoAAAoAAAAAAEBBCYcAAAAKCW8YAAABAAlwGAAAAbgUAABpAAAACgoBAAAA5+fnAP////8AAAG9FAAAbgAAAAlxGAAAAQAAAAMAAAABvhQAAHAAAAAJchgAAAoBwRQAAIEAAAAKCgAAAEA/CXMYAAAJdBgAAAEAAAD+////AAAAAAEAAAAAAAAAAAAAAAEAAAAAAAAAAAAAAcIUAACCAAAACgoJdRgAAAl2GAAAAQAAAP7///8AAAAA/////wAAAcYUAABwAAAACXcYAAAKB80UAAAAAQAAAAQAAAAEHEFwbG9yaXMuQmFzZS5VSS5WaXN1YWxPYmplY3QDAAAACesQAAAJ6hAAAAoKBdQU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kFwbG9yaXMuQ2hhcnQuQ2hhcnREYXRhRWxlbWVudAIAAAABAQELGkFwbG9yaXMuQmFzZS5PYmplY3RzLkNvbG9yAwAAAAEBGkFwbG9yaXMuQmFzZS5PYmplY3RzLkNvbG9yAwAAAAMAAAAJaQoAAAoAAAAAAEBBCYcAAAAKCXgYAAABAAl5GAAAAdUUAABpAAAACgoBAAAA5+fnAP////8AAAHaFAAAbgAAAAl6GAAAAQAAAAMAAAAB2xQAAHAAAAAJexgAAAoB3hQAAIEAAAAKCgAAAEA/CXwYAAAJfRgAAAEAAAD+////AAAAAAEAAAAAAAAAAAAAAAEAAAAAAAAAAAAAAd8UAACCAAAACgoJfhgAAAl/GAAAAQAAAP7///8AAAAA/////wAAAeMUAABwAAAACYAYAAAKB+oUAAAAAQAAAAQAAAAEHEFwbG9yaXMuQmFzZS5VSS5WaXN1YWxPYmplY3QDAAAACfIQAAAJ8RAAAAoKBfEU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kFwbG9yaXMuQ2hhcnQuQ2hhcnREYXRhRWxlbWVudAIAAAABAQELGkFwbG9yaXMuQmFzZS5PYmplY3RzLkNvbG9yAwAAAAEBGkFwbG9yaXMuQmFzZS5PYmplY3RzLkNvbG9yAwAAAAMAAAAJagoAAAoAAAAAAEBBCYcAAAAKCYEYAAABAAmCGAAAAfIUAABpAAAACgoBAAAA5+fnAP////8AAQH3FAAAbgAAAAmDGAAAAQAAAAMAAAAB+BQAAHAAAAAJhBgAAAoB+xQAAIEAAAAKCgAAAEA/CYUYAAAJhhgAAAEAAAD+////AAAAAAEAAAAAAAAAAAAAAAEAAAAAAAAAAAAAAfwUAACCAAAACgoJhxgAAAmIGAAAAQAAAP7///8AAAAA/////wAAAQAVAABwAAAACYkYAAAKBwcVAAAAAQAAAAQAAAAEHEFwbG9yaXMuQmFzZS5VSS5WaXN1YWxPYmplY3QDAAAACfkQAAAJ+BAAAAoKBQ4V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kFwbG9yaXMuQ2hhcnQuQ2hhcnREYXRhRWxlbWVudAIAAAABAQELGkFwbG9yaXMuQmFzZS5PYmplY3RzLkNvbG9yAwAAAAEBGkFwbG9yaXMuQmFzZS5PYmplY3RzLkNvbG9yAwAAAAMAAAAJawoAAAoAAAAAAEBBCYcAAAAKCYoYAAABAAmLGAAAAQ8VAABpAAAACgoBAAAA5+fnAP////8AAQEUFQAAbgAAAAmMGAAAAQAAAAMAAAABFRUAAHAAAAAJjRgAAAoBGBUAAIEAAAAKCgAAAEA/CY4YAAAJjxgAAAEAAAD+////AAAAAAEAAAAAAAAAAAAAAAEAAAAAAAAAAAAAARkVAACCAAAACgoJkBgAAAmRGAAAAQAAAP7///8AAAAA/////wAAAR0VAABwAAAACZIYAAAKByQVAAAAAQAAAAQAAAAEHEFwbG9yaXMuQmFzZS5VSS5WaXN1YWxPYmplY3QDAAAACQARAAAJ/xAAAAoKBSsV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kFwbG9yaXMuQ2hhcnQuQ2hhcnREYXRhRWxlbWVudAIAAAABAQELGkFwbG9yaXMuQmFzZS5PYmplY3RzLkNvbG9yAwAAAAEBGkFwbG9yaXMuQmFzZS5PYmplY3RzLkNvbG9yAwAAAAMAAAAJbAoAAAoAAAAAAEBBCYcAAAAKCZMYAAABAAmUGAAAASwVAABpAAAACgoBAAAA5+fnAP////8AAAExFQAAbgAAAAmVGAAAAQAAAAMAAAABMhUAAHAAAAAJlhgAAAoBNRUAAIEAAAAKCgAAAEA/CZcYAAAJmBgAAAEAAAD+////AAAAAAEAAAAAAAAAAAAAAAEAAAAAAAAAAAAAATYVAACCAAAACgoJmRgAAAmaGAAAAQAAAP7///8AAAAA/////wAAAToVAABwAAAACZsYAAAKB0EVAAAAAQAAAAQAAAAEHEFwbG9yaXMuQmFzZS5VSS5WaXN1YWxPYmplY3QDAAAACQcRAAAJBhEAAAoKBUgV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kFwbG9yaXMuQ2hhcnQuQ2hhcnREYXRhRWxlbWVudAIAAAABAQELGkFwbG9yaXMuQmFzZS5PYmplY3RzLkNvbG9yAwAAAAEBGkFwbG9yaXMuQmFzZS5PYmplY3RzLkNvbG9yAwAAAAMAAAAJbQoAAAoAAAAAAEBBCYcAAAAKCZwYAAABAAmdGAAAAUkVAABpAAAACgoBAAAA5+fnAP////8AAAFOFQAAbgAAAAmeGAAAAQAAAAMAAAABTxUAAHAAAAAJnxgAAAoBUhUAAIEAAAAKCgAAAEA/CaAYAAAJoRgAAAEAAAD+////AAAAAAEAAAAAAAAAAAAAAAEAAAAAAAAAAAAAAVMVAACCAAAACgoJohgAAAmjGAAAAQAAAP7///8AAAAA/////wAAAVcVAABwAAAACaQYAAAKB14VAAAAAQAAAAQAAAAEHEFwbG9yaXMuQmFzZS5VSS5WaXN1YWxPYmplY3QDAAAACQ4RAAAJDREAAAoKBWUV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kFwbG9yaXMuQ2hhcnQuQ2hhcnREYXRhRWxlbWVudAIAAAABAQELGkFwbG9yaXMuQmFzZS5PYmplY3RzLkNvbG9yAwAAAAEBGkFwbG9yaXMuQmFzZS5PYmplY3RzLkNvbG9yAwAAAAMAAAAJbgoAAAoAAAAAAEBBCYcAAAAKCaUYAAABAAmmGAAAAWYVAABpAAAACgoBAAAA5+fnAP////8AAAFrFQAAbgAAAAmnGAAAAQAAAAMAAAABbBUAAHAAAAAJqBgAAAoBbxUAAIEAAAAKCgAAAEA/CakYAAAJqhgAAAEAAAD+////AAAAAAEAAAAAAAAAAAAAAAEAAAAAAAAAAAAAAXAVAACCAAAACgoJqxgAAAmsGAAAAQAAAP7///8AAAAA/////wAAAXQVAABwAAAACa0YAAAKB3sVAAAAAQAAAAQAAAAEHEFwbG9yaXMuQmFzZS5VSS5WaXN1YWxPYmplY3QDAAAACRURAAAJFBEAAAoKBYIV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kFwbG9yaXMuQ2hhcnQuQ2hhcnREYXRhRWxlbWVudAIAAAABAQELGkFwbG9yaXMuQmFzZS5PYmplY3RzLkNvbG9yAwAAAAEBGkFwbG9yaXMuQmFzZS5PYmplY3RzLkNvbG9yAwAAAAMAAAAJbwoAAAoAAAAAAEBBCYcAAAAKCa4YAAABAAmvGAAAAYMVAABpAAAACgoBAAAA5+fnAP////8AAQGIFQAAbgAAAAmwGAAAAQAAAAMAAAABiRUAAHAAAAAJsRgAAAoBjBUAAIEAAAAKCgAAAEA/CbIYAAAJsxgAAAEAAAD+////AAAAAAEAAAAAAAAAAAAAAAEAAAAAAAAAAAAAAY0VAACCAAAACgoJtBgAAAm1GAAAAQAAAP7///8AAAAA/////wAAAZEVAABwAAAACbYYAAAKB5gVAAAAAQAAAAQAAAAEHEFwbG9yaXMuQmFzZS5VSS5WaXN1YWxPYmplY3QDAAAACRwRAAAJGxEAAAoKBZ8V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kFwbG9yaXMuQ2hhcnQuQ2hhcnREYXRhRWxlbWVudAIAAAABAQELGkFwbG9yaXMuQmFzZS5PYmplY3RzLkNvbG9yAwAAAAEBGkFwbG9yaXMuQmFzZS5PYmplY3RzLkNvbG9yAwAAAAMAAAAJcAoAAAoAAAAAAEBBCYcAAAAKCbcYAAABAAm4GAAAAaAVAABpAAAACgoBAAAA5+fnAP////8AAQGlFQAAbgAAAAm5GAAAAQAAAAMAAAABphUAAHAAAAAJuhgAAAoBqRUAAIEAAAAKCgAAAEA/CbsYAAAJvBgAAAEAAAD+////AAAAAAEAAAAAAAAAAAAAAAEAAAAAAAAAAAAAAaoVAACCAAAACgoJvRgAAAm+GAAAAQAAAP7///8AAAAA/////wAAAa4VAABwAAAACb8YAAAKB7UVAAAAAQAAAAQAAAAEHEFwbG9yaXMuQmFzZS5VSS5WaXN1YWxPYmplY3QDAAAACSMRAAAJIhEAAAoKBbwV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kFwbG9yaXMuQ2hhcnQuQ2hhcnREYXRhRWxlbWVudAIAAAABAQELGkFwbG9yaXMuQmFzZS5PYmplY3RzLkNvbG9yAwAAAAEBGkFwbG9yaXMuQmFzZS5PYmplY3RzLkNvbG9yAwAAAAMAAAAJcQoAAAoAAAAAAEBBCYcAAAAKCcAYAAABAAnBGAAAAb0VAABpAAAACgoBAAAA5+fnAP////8AAAHCFQAAbgAAAAnCGAAAAQAAAAMAAAABwxUAAHAAAAAJwxgAAAoBxhUAAIEAAAAKCgAAAEA/CcQYAAAJxRgAAAEAAAD+////AAAAAAEAAAAAAAAAAAAAAAEAAAAAAAAAAAAAAccVAACCAAAACgoJxhgAAAnHGAAAAQAAAP7///8AAAAA/////wAAAcsVAABwAAAACcgYAAAKB9IVAAAAAQAAAAQAAAAEHEFwbG9yaXMuQmFzZS5VSS5WaXN1YWxPYmplY3QDAAAACSoRAAAJKREAAAoKBdkV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kFwbG9yaXMuQ2hhcnQuQ2hhcnREYXRhRWxlbWVudAIAAAABAQELGkFwbG9yaXMuQmFzZS5PYmplY3RzLkNvbG9yAwAAAAEBGkFwbG9yaXMuQmFzZS5PYmplY3RzLkNvbG9yAwAAAAMAAAAJcgoAAAoAAAAAAEBBCYcAAAAKCckYAAABAAnKGAAAAdoVAABpAAAACgoBAAAA5+fnAP////8AAAHfFQAAbgAAAAnLGAAAAQAAAAMAAAAB4BUAAHAAAAAJzBgAAAoB4xUAAIEAAAAKCgAAAEA/Cc0YAAAJzhgAAAEAAAD+////AAAAAAEAAAAAAAAAAAAAAAEAAAAAAAAAAAAAAeQVAACCAAAACgoJzxgAAAnQGAAAAQAAAP7///8AAAAA/////wAAAegVAABwAAAACdEYAAAKB+8VAAAAAQAAAAQAAAAEHEFwbG9yaXMuQmFzZS5VSS5WaXN1YWxPYmplY3QDAAAACTERAAAJMBEAAAoKBfYV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kFwbG9yaXMuQ2hhcnQuQ2hhcnREYXRhRWxlbWVudAIAAAABAQELGkFwbG9yaXMuQmFzZS5PYmplY3RzLkNvbG9yAwAAAAEBGkFwbG9yaXMuQmFzZS5PYmplY3RzLkNvbG9yAwAAAAMAAAAJcwoAAAoAAAAAAEBBCYcAAAAKCdIYAAABAAnTGAAAAfcVAABpAAAACgoBAAAA5+fnAP////8AAAH8FQAAbgAAAAnUGAAAAQAAAAMAAAAB/RUAAHAAAAAJ1RgAAAoBABYAAIEAAAAKCgAAAEA/CdYYAAAJ1xgAAAEAAAD+////AAAAAAEAAAAAAAAAAAAAAAEAAAAAAAAAAAAAAQEWAACCAAAACgoJ2BgAAAnZGAAAAQAAAP7///8AAAAA/////wAAAQUWAABwAAAACdoYAAAKBwwWAAAAAQAAAAQAAAAEHEFwbG9yaXMuQmFzZS5VSS5WaXN1YWxPYmplY3QDAAAACTgRAAAJNxEAAAoKBRMW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kFwbG9yaXMuQ2hhcnQuQ2hhcnREYXRhRWxlbWVudAIAAAABAQELGkFwbG9yaXMuQmFzZS5PYmplY3RzLkNvbG9yAwAAAAEBGkFwbG9yaXMuQmFzZS5PYmplY3RzLkNvbG9yAwAAAAMAAAAJdAoAAAoAAAAAAEBBCYcAAAAKCdsYAAABAAncGAAAARQWAABpAAAACgoBAAAA5+fnAP////8AAQEZFgAAbgAAAAndGAAAAQAAAAMAAAABGhYAAHAAAAAJ3hgAAAoBHRYAAIEAAAAKCgAAAEA/Cd8YAAAJ4BgAAAEAAAD+////AAAAAAEAAAAAAAAAAAAAAAEAAAAAAAAAAAAAAR4WAACCAAAACgoJ4RgAAAniGAAAAQAAAP7///8AAAAA/////wAAASIWAABwAAAACeMYAAAKBykWAAAAAQAAAAQAAAAEHEFwbG9yaXMuQmFzZS5VSS5WaXN1YWxPYmplY3QDAAAACT8RAAAJPhEAAAoKBTAW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kFwbG9yaXMuQ2hhcnQuQ2hhcnREYXRhRWxlbWVudAIAAAABAQELGkFwbG9yaXMuQmFzZS5PYmplY3RzLkNvbG9yAwAAAAEBGkFwbG9yaXMuQmFzZS5PYmplY3RzLkNvbG9yAwAAAAMAAAAJdQoAAAoAAAAAAEBBCYcAAAAKCeQYAAABAAnlGAAAATEWAABpAAAACgoBAAAA5+fnAP////8AAAE2FgAAbgAAAAnmGAAAAQAAAAMAAAABNxYAAHAAAAAJ5xgAAAoBOhYAAIEAAAAKCgAAAEA/CegYAAAJ6RgAAAEAAAD+////AAAAAAEAAAAAAAAAAAAAAAEAAAAAAAAAAAAAATsWAACCAAAACgoJ6hgAAAnrGAAAAQAAAP7///8AAAAA/////wAAAT8WAABwAAAACewYAAAKB0YWAAAAAQAAAAQAAAAEHEFwbG9yaXMuQmFzZS5VSS5WaXN1YWxPYmplY3QDAAAACUYRAAAJRREAAAoKBU0W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kFwbG9yaXMuQ2hhcnQuQ2hhcnREYXRhRWxlbWVudAIAAAABAQELGkFwbG9yaXMuQmFzZS5PYmplY3RzLkNvbG9yAwAAAAEBGkFwbG9yaXMuQmFzZS5PYmplY3RzLkNvbG9yAwAAAAMAAAAJdgoAAAoAAAAAAEBBCYcAAAAKCe0YAAABAAnuGAAAAU4WAABpAAAACgoBAAAA5+fnAP////8AAQFTFgAAbgAAAAnvGAAAAQAAAAMAAAABVBYAAHAAAAAJ8BgAAAoBVxYAAIEAAAAKCgAAAEA/CfEYAAAJ8hgAAAEAAAD+////AAAAAAEAAAAAAAAAAAAAAAEAAAAAAAAAAAAAAVgWAACCAAAACgoJ8xgAAAn0GAAAAQAAAP7///8AAAAA/////wAAAVwWAABwAAAACfUYAAAKB2MWAAAAAQAAAAQAAAAEHEFwbG9yaXMuQmFzZS5VSS5WaXN1YWxPYmplY3QDAAAACU0RAAAJTBEAAAoKBWoW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kFwbG9yaXMuQ2hhcnQuQ2hhcnREYXRhRWxlbWVudAIAAAABAQELGkFwbG9yaXMuQmFzZS5PYmplY3RzLkNvbG9yAwAAAAEBGkFwbG9yaXMuQmFzZS5PYmplY3RzLkNvbG9yAwAAAAMAAAAJdwoAAAoAAAAAAEBBCYcAAAAKCfYYAAABAAn3GAAAAWsWAABpAAAACgoBAAAA5+fnAP////8AAQFwFgAAbgAAAAn4GAAAAQAAAAMAAAABcRYAAHAAAAAJ+RgAAAoBdBYAAIEAAAAKCgAAAEA/CfoYAAAJ+xgAAAEAAAD+////AAAAAAEAAAAAAAAAAAAAAAEAAAAAAAAAAAAAAXUWAACCAAAACgoJ/BgAAAn9GAAAAQAAAP7///8AAAAA/////wAAAXkWAABwAAAACf4YAAAKB4AWAAAAAQAAAAQAAAAEHEFwbG9yaXMuQmFzZS5VSS5WaXN1YWxPYmplY3QDAAAACVQRAAAJUxEAAAoKBYcW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kFwbG9yaXMuQ2hhcnQuQ2hhcnREYXRhRWxlbWVudAIAAAABAQELGkFwbG9yaXMuQmFzZS5PYmplY3RzLkNvbG9yAwAAAAEBGkFwbG9yaXMuQmFzZS5PYmplY3RzLkNvbG9yAwAAAAMAAAAJeAoAAAoAAAAAAEBBCYcAAAAKCf8YAAABAAkAGQAAAYgWAABpAAAACgoBAAAA5+fnAP////8AAAGNFgAAbgAAAAkBGQAAAQAAAAMAAAABjhYAAHAAAAAJAhkAAAoBkRYAAIEAAAAKCgAAAEA/CQMZAAAJBBkAAAEAAAD+////AAAAAAEAAAAAAAAAAAAAAAEAAAAAAAAAAAAAAZIWAACCAAAACgoJBRkAAAkGGQAAAQAAAP7///8AAAAA/////wAAAZYWAABwAAAACQcZAAAKB50WAAAAAQAAAAQAAAAEHEFwbG9yaXMuQmFzZS5VSS5WaXN1YWxPYmplY3QDAAAACVsRAAAJWhEAAAoKBaQW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kFwbG9yaXMuQ2hhcnQuQ2hhcnREYXRhRWxlbWVudAIAAAABAQELGkFwbG9yaXMuQmFzZS5PYmplY3RzLkNvbG9yAwAAAAEBGkFwbG9yaXMuQmFzZS5PYmplY3RzLkNvbG9yAwAAAAMAAAAJeQoAAAoAAAAAAEBBCYcAAAAKCQgZAAABAAkJGQAAAaUWAABpAAAACgoBAAAA5+fnAP////8AAAGqFgAAbgAAAAkKGQAAAQAAAAMAAAABqxYAAHAAAAAJCxkAAAoBrhYAAIEAAAAKCgAAAEA/CQwZAAAJDRkAAAEAAAD+////AAAAAAEAAAAAAAAAAAAAAAEAAAAAAAAAAAAAAa8WAACCAAAACgoJDhkAAAkPGQAAAQAAAP7///8AAAAA/////wAAAbMWAABwAAAACRAZAAAKB7oWAAAAAQAAAAQAAAAEHEFwbG9yaXMuQmFzZS5VSS5WaXN1YWxPYmplY3QDAAAACWIRAAAJYREAAAoKBcEWAAAfQXBsb3Jpcy5CYXNlLk9iamVjdHMuVGV4dEZvcm1hdAwAAAASRGF0YU9iamVjdCttUGFyZW50FURhdGFPYmplY3QrbUNvbnRhaW5lcgltRm9udEJvbGQLbUZvbnRJdGFsaWMObUZvbnRVbmRlcmxpbmUJbUZvbnRTaXplCW1Gb250TmFtZRBtRm9udEZhckVhc3ROYW1lCm1Gb250Q29sb3IJbU1vZGlmaWVkEm1BdXRvQ29sb3JEaXNhYmxlZAptQXV0b0NvbG9yBAIAAAAAAQIEAAAEHkFwbG9yaXMuQ2hhcnQuQ2hhcnREYXRhRWxlbWVudAIAAAABAQELGkFwbG9yaXMuQmFzZS5PYmplY3RzLkNvbG9yAwAAAAEBGkFwbG9yaXMuQmFzZS5PYmplY3RzLkNvbG9yAwAAAAMAAAAJegoAAAoAAAAAAEBBCYcAAAAKCREZAAABAAkSGQAAAcIWAABpAAAACgoBAAAA5+fnAP////8AAQHHFgAAbgAAAAkTGQAAAQAAAAMAAAAByBYAAHAAAAAJFBkAAAoByxYAAIEAAAAKCgAAAEA/CRUZAAAJFhkAAAEAAAD+////AAAAAAEAAAAAAAAAAAAAAAEAAAAAAAAAAAAAAcwWAACCAAAACgoJFxkAAAkYGQAAAQAAAP7///8AAAAA/////wAAAdAWAABwAAAACRkZAAAKB9cWAAAAAQAAAAQAAAAEHEFwbG9yaXMuQmFzZS5VSS5WaXN1YWxPYmplY3QDAAAACWkRAAAJaBEAAAoKAdoWAAAmAAAACgoAAAAAABBBCYcAAAAKCRoZAAAAAAkbGQAAAdsWAABpAAAACgoBAAAAAAAAAP////8AAQHfFgAAbgAAAAkcGQAAAQAAAAMAAAAB4BYAAHAAAAAJHRkAAAoH4RYAAAABAAAABAAAAAQcQXBsb3Jpcy5CYXNlLlVJLlZpc3VhbE9iamVjdAMAAAAJbxEAAA0DAeQWAAAmAAAACgoAAAAAABBBCYcAAAAKCR4ZAAAAAAkfGQAAAeUWAABpAAAACgoBAAAAAAAAAP////8AAQHpFgAAbgAAAAkgGQAAAQAAAAEAAAAB6hYAAHAAAAAJIRkAAAoH6xYAAAABAAAABAAAAAQcQXBsb3Jpcy5CYXNlLlVJLlZpc3VhbE9iamVjdAMAAAAJcxEAAA0DAe4WAAAmAAAACgoAAAAAABBBCYcAAAAKCSIZAAAAAAkjGQAAAe8WAABpAAAACgoBAAAAAAAAAP////8AAQHzFgAAbgAAAAkkGQAAAQAAAAMAAAAB9BYAAHAAAAAJJRkAAAoH9RYAAAABAAAABAAAAAQcQXBsb3Jpcy5CYXNlLlVJLlZpc3VhbE9iamVjdAMAAAAJdxEAAA0DAfgWAAAmAAAACgoAAAAAABBBCYcAAAAKCSYZAAAAAAknGQAAAfkWAABpAAAACgoBAAAAAAAAAP////8AAQH9FgAAbgAAAAkoGQAAAQAAAAMAAAAB/hYAAHAAAAAJKRkAAAoH/xYAAAABAAAABAAAAAQcQXBsb3Jpcy5CYXNlLlVJLlZpc3VhbE9iamVjdAMAAAAJexEAAA0DAQIXAAAmAAAACgoAAAAAABBBCYcAAAAKCSoZAAAAAAkrGQAAAQMXAABpAAAACgoBAAAAAAAAAP////8AAQEHFwAAbgAAAAksGQAAAQAAAAMAAAABCBcAAHAAAAAJLRkAAAoHCRcAAAABAAAABAAAAAQcQXBsb3Jpcy5CYXNlLlVJLlZpc3VhbE9iamVjdAMAAAAJfxEAAA0DAQwXAAAmAAAACgoAAAAAABBBCYcAAAAKCS4ZAAAAAAkvGQAAAQ0XAABpAAAACgoBAAAAAAAAAP////8AAQERFwAAbgAAAAkwGQAAAQAAAAMAAAABEhcAAHAAAAAJMRkAAAoHExcAAAABAAAABAAAAAQcQXBsb3Jpcy5CYXNlLlVJLlZpc3VhbE9iamVjdAMAAAAJgxEAAA0DARYXAAAmAAAACgoAAAAAABBBCYcAAAAKCTIZAAAAAAkzGQAAARcXAABpAAAACgoBAAAAAAAAAP////8AAQEbFwAAbgAAAAk0GQAAAQAAAAMAAAABHBcAAHAAAAAJNRkAAAoHHRcAAAABAAAABAAAAAQcQXBsb3Jpcy5CYXNlLlVJLlZpc3VhbE9iamVjdAMAAAAJhxEAAA0DASAXAAAmAAAACgoAAAAAABBBCYcAAAAKCTYZAAAAAAk3GQAAASEXAABpAAAACgoBAAAAAAAAAP////8AAQElFwAAbgAAAAk4GQAAAQAAAAMAAAABJhcAAHAAAAAJORkAAAoHJxcAAAABAAAABAAAAAQcQXBsb3Jpcy5CYXNlLlVJLlZpc3VhbE9iamVjdAMAAAAJihEAAA0DASoXAAAmAAAACgoAAAAAABBBCYcAAAAKCToZAAAAAAk7GQAAASsXAABpAAAACgoBAAAAAAAAAP////8AAQEvFwAAbgAAAAk8GQAAAQAAAAMAAAABMBcAAHAAAAAJPRkAAAoHMRcAAAABAAAABAAAAAQcQXBsb3Jpcy5CYXNlLlVJLlZpc3VhbE9iamVjdAMAAAAJjhEAAA0DATQXAAAmAAAACgoAAAAAABBBCYcAAAAKCT4ZAAAAAAk/GQAAATUXAABpAAAACgoBAAAAAAAAAP////8AAQE5FwAAbgAAAAlAGQAAAQAAAAMAAAABOhcAAHAAAAAJQRkAAAoHOxcAAAABAAAABAAAAAQcQXBsb3Jpcy5CYXNlLlVJLlZpc3VhbE9iamVjdAMAAAAJkhEAAA0DAT4XAAAmAAAACgoAAAAAABBBCYcAAAAKCUIZAAAAAAlDGQAAAT8XAABpAAAACgoBAAAAAAAAAP////8AAQFDFwAAbgAAAAlEGQAAAQAAAAMAAAABRBcAAHAAAAAJRRkAAAoHRRcAAAABAAAABAAAAAQcQXBsb3Jpcy5CYXNlLlVJLlZpc3VhbE9iamVjdAMAAAAJlhEAAA0DAUgXAAAmAAAACgoAAAAAABBBCYcAAAAKCUYZAAAAAAlHGQAAAUkXAABpAAAACgoBAAAAAAAAAP////8AAQFNFwAAbgAAAAlIGQAAAQAAAAMAAAABThcAAHAAAAAJSRkAAAoHTxcAAAABAAAABAAAAAQcQXBsb3Jpcy5CYXNlLlVJLlZpc3VhbE9iamVjdAMAAAAJmREAAA0DAVIXAAAmAAAACgoAAAAAABBBCYcAAAAKCUoZAAAAAAlLGQAAAVMXAABpAAAACgoBAAAAAAAAAP////8AAQFXFwAAbgAAAAlMGQAAAQAAAAMAAAABWBcAAHAAAAAJTRkAAAoHWRcAAAABAAAABAAAAAQcQXBsb3Jpcy5CYXNlLlVJLlZpc3VhbE9iamVjdAMAAAAJnBEAAA0DAVwXAAAmAAAACgoAAAAAABBBCYcAAAAKCU4ZAAAAAAlPGQAAAV0XAABpAAAACgoBAAAAAAAAAP////8AAQFhFwAAbgAAAAlQGQAAAQAAAAMAAAABYhcAAHAAAAAJURkAAAoHYxcAAAABAAAABAAAAAQcQXBsb3Jpcy5CYXNlLlVJLlZpc3VhbE9iamVjdAMAAAAJoBEAAA0DAWYXAAAmAAAACgoAAAAAABBBCYcAAAAKCVIZAAAAAAlTGQAAAWcXAABpAAAACgoBAAAAAAAAAP////8AAQFrFwAAbgAAAAlUGQAAAQAAAAMAAAABbBcAAHAAAAAJVRkAAAoHbRcAAAABAAAABAAAAAQcQXBsb3Jpcy5CYXNlLlVJLlZpc3VhbE9iamVjdAMAAAAJoxEAAA0DAXAXAAAmAAAACgoAAAAAABBBCYcAAAAKCVYZAAAAAAlXGQAAAXEXAABpAAAACgoBAAAAAAAAAP////8AAQF1FwAAbgAAAAlYGQAAAQAAAAMAAAABdhcAAHAAAAAJWRkAAAoHdxcAAAABAAAABAAAAAQcQXBsb3Jpcy5CYXNlLlVJLlZpc3VhbE9iamVjdAMAAAAJpxEAAA0DAXoXAAAmAAAACgoAAAAAABBBCYcAAAAKCVoZAAAAAAlbGQAAAXsXAABpAAAACgoBAAAAAAAAAP////8AAQF/FwAAbgAAAAlcGQAAAQAAAAMAAAABgBcAAHAAAAAJXRkAAAoHgRcAAAABAAAABAAAAAQcQXBsb3Jpcy5CYXNlLlVJLlZpc3VhbE9iamVjdAMAAAAJqhEAAA0DAYQXAAAmAAAACgoAAAAAABBBCYcAAAAKCV4ZAAAAAAlfGQAAAYUXAABpAAAACgoBAAAAAAAAAP////8AAQGJFwAAbgAAAAlgGQAAAQAAAAMAAAABihcAAHAAAAAJYRkAAAoHixcAAAABAAAABAAAAAQcQXBsb3Jpcy5CYXNlLlVJLlZpc3VhbE9iamVjdAMAAAAJrREAAA0DAY4XAAAmAAAACgoAAAAAABBBCYcAAAAKCWIZAAAAAAljGQAAAY8XAABpAAAACgoBAAAAAAAAAP////8AAQGTFwAAbgAAAAlkGQAAAQAAAAMAAAABlBcAAHAAAAAJZRkAAAoHlRcAAAABAAAABAAAAAQcQXBsb3Jpcy5CYXNlLlVJLlZpc3VhbE9iamVjdAMAAAAJsREAAA0DAZgXAAAmAAAACgoAAAAAABBBCYcAAAAKCWYZAAAAAAlnGQAAAZkXAABpAAAACgoBAAAAAAAAAP////8AAQGdFwAAbgAAAAloGQAAAQAAAAMAAAABnhcAAHAAAAAJaRkAAAoHnxcAAAABAAAABAAAAAQcQXBsb3Jpcy5CYXNlLlVJLlZpc3VhbE9iamVjdAMAAAAJtREAAA0DAaAXAABpAAAACgoAAAAA////AA4AAAAAAAGhFwAAaQAAAAoKAAAAAP///wAOAAAAAAEHohcAAAABAAAABAAAAAQdQXBsb3Jpcy5CYXNlLk9iamVjdHMuVmFyaWFibGUDAAAAAWoZAABPAQAAAQAAAAAAAAABaxkAAE8BAAAAAAAAAAAAAAFsGQAATwEAAAAAAAAAAAAAAW0ZAABPAQAAAAAAAAAAAAAPoxcAAAEAAAAIWwAAAAWkFwAAGkFwbG9yaXMuQmFzZS5PYmplY3RzLkNvbG9yBwAAABJEYXRhT2JqZWN0K21QYXJlbnQVRGF0YU9iamVjdCttQ29udGFpbmVyBW1UeXBlBG1SR0IQbVRoZW1lQ29sb3JJbmRleAxtQXV0b1VwZGF0ZWQJbU1vZGlmaWVkBAIAAAAAAB9BcGxvcmlzLkJhc2UuT2JqZWN0cy5MaW5lRm9ybWF0AwAAAAgICAEBAwAAAAkYEgAACgAAAAD///8ADgAAAAAABaUXAAAaQXBsb3Jpcy5CYXNlLk9iamVjdHMuQ29sb3IHAAAAEkRhdGFPYmplY3QrbVBhcmVudBVEYXRhT2JqZWN0K21Db250YWluZXIFbVR5cGUEbVJHQhBtVGhlbWVDb2xvckluZGV4DG1BdXRvVXBkYXRlZAltTW9kaWZpZWQEAgAAAAAAH0FwbG9yaXMuQmFzZS5PYmplY3RzLkxpbmVGb3JtYXQDAAAACAgIAQEDAAAACRgSAAAKAQAAAAAAAAD/////AAEBphcAAGkAAAAKCgEAAADITkgA/////wAAAacXAABpAAAACgoBAAAA////AP////8AAA+oFwAAAQAAAAgpAAAAAakXAABpAAAACgoAAAAA////AA4AAAAAAAGqFwAAaQAAAAoKAAAAAP///wAOAAAAAAEHqxcAAAABAAAABAAAAAQdQXBsb3Jpcy5CYXNlLk9iamVjdHMuVmFyaWFibGUDAAAAAW4ZAABPAQAAAQAAAAAAAAABbxkAAE8BAAAAAAAAAAAAAAFwGQAATwEAAAAAAAAAAAAAAXEZAABPAQAAAAAAAAAAAAAPrBcAAAEAAAAIXAAAAAWtFwAAGkFwbG9yaXMuQmFzZS5PYmplY3RzLkNvbG9yBwAAABJEYXRhT2JqZWN0K21QYXJlbnQVRGF0YU9iamVjdCttQ29udGFpbmVyBW1UeXBlBG1SR0IQbVRoZW1lQ29sb3JJbmRleAxtQXV0b1VwZGF0ZWQJbU1vZGlmaWVkBAIAAAAAAB9BcGxvcmlzLkJhc2UuT2JqZWN0cy5MaW5lRm9ybWF0AwAAAAgICAEBAwAAAAlDEgAACgAAAAD///8ADgAAAAAABa4XAAAaQXBsb3Jpcy5CYXNlLk9iamVjdHMuQ29sb3IHAAAAEkRhdGFPYmplY3QrbVBhcmVudBVEYXRhT2JqZWN0K21Db250YWluZXIFbVR5cGUEbVJHQhBtVGhlbWVDb2xvckluZGV4DG1BdXRvVXBkYXRlZAltTW9kaWZpZWQEAgAAAAAAH0FwbG9yaXMuQmFzZS5PYmplY3RzLkxpbmVGb3JtYXQDAAAACAgIAQEDAAAACUMSAAAKAQAAAAAAAAD/////AAEBrxcAAGkAAAAKCgEAAADITkgA/////wAAAbAXAABpAAAACgoBAAAA////AP////8AAA+xFwAAAQAAAAgjAAAAAbIXAABpAAAACgoAAAAA////AA4AAAAAAAGzFwAAaQAAAAoKAAAAAP///wAOAAAAAAEHtBcAAAABAAAABAAAAAQdQXBsb3Jpcy5CYXNlLk9iamVjdHMuVmFyaWFibGUDAAAAAXIZAABPAQAAAQAAAAAAAAABcxkAAE8BAAAAAAAAAAAAAAF0GQAATwEAAAAAAAAAAAAAAXUZAABPAQAAAAAAAAAAAAAPtRcAAAEAAAAIXQAAAAW2FwAAGkFwbG9yaXMuQmFzZS5PYmplY3RzLkNvbG9yBwAAABJEYXRhT2JqZWN0K21QYXJlbnQVRGF0YU9iamVjdCttQ29udGFpbmVyBW1UeXBlBG1SR0IQbVRoZW1lQ29sb3JJbmRleAxtQXV0b1VwZGF0ZWQJbU1vZGlmaWVkBAIAAAAAAB9BcGxvcmlzLkJhc2UuT2JqZWN0cy5MaW5lRm9ybWF0AwAAAAgICAEBAwAAAAlgEgAACgAAAAD///8ADgAAAAAABbcXAAAaQXBsb3Jpcy5CYXNlLk9iamVjdHMuQ29sb3IHAAAAEkRhdGFPYmplY3QrbVBhcmVudBVEYXRhT2JqZWN0K21Db250YWluZXIFbVR5cGUEbVJHQhBtVGhlbWVDb2xvckluZGV4DG1BdXRvVXBkYXRlZAltTW9kaWZpZWQEAgAAAAAAH0FwbG9yaXMuQmFzZS5PYmplY3RzLkxpbmVGb3JtYXQDAAAACAgIAQEDAAAACWASAAAKAQAAAAAAAAD/////AAEBuBcAAGkAAAAKCgEAAADITkgA/////wAAAbkXAABpAAAACgoBAAAA////AP////8AAA+6FwAAAQAAAAghAAAAAbsXAABpAAAACgoAAAAA////AA4AAAAAAAG8FwAAaQAAAAoKAAAAAP///wAOAAAAAAEHvRcAAAABAAAABAAAAAQdQXBsb3Jpcy5CYXNlLk9iamVjdHMuVmFyaWFibGUDAAAAAXYZAABPAQAAAQAAAAAAAAABdxkAAE8BAAAAAAAAAAAAAAF4GQAATwEAAAAAAAAAAAAAAXkZAABPAQAAAAAAAAAAAAAPvhcAAAEAAAAIWAAAAAW/FwAAGkFwbG9yaXMuQmFzZS5PYmplY3RzLkNvbG9yBwAAABJEYXRhT2JqZWN0K21QYXJlbnQVRGF0YU9iamVjdCttQ29udGFpbmVyBW1UeXBlBG1SR0IQbVRoZW1lQ29sb3JJbmRleAxtQXV0b1VwZGF0ZWQJbU1vZGlmaWVkBAIAAAAAAB9BcGxvcmlzLkJhc2UuT2JqZWN0cy5MaW5lRm9ybWF0AwAAAAgICAEBAwAAAAl9EgAACgAAAAD///8ADgAAAAAABcAXAAAaQXBsb3Jpcy5CYXNlLk9iamVjdHMuQ29sb3IHAAAAEkRhdGFPYmplY3QrbVBhcmVudBVEYXRhT2JqZWN0K21Db250YWluZXIFbVR5cGUEbVJHQhBtVGhlbWVDb2xvckluZGV4DG1BdXRvVXBkYXRlZAltTW9kaWZpZWQEAgAAAAAAH0FwbG9yaXMuQmFzZS5PYmplY3RzLkxpbmVGb3JtYXQDAAAACAgIAQEDAAAACX0SAAAKAQAAAAAAAAD/////AAEBwRcAAGkAAAAKCgEAAADITkgA/////wAAAcIXAABpAAAACgoBAAAA////AP////8AAA/DFwAAAQAAAAgiAAAAAcQXAABpAAAACgoAAAAA////AA4AAAAAAAHFFwAAaQAAAAoKAAAAAP///wAOAAAAAAEHxhcAAAABAAAABAAAAAQdQXBsb3Jpcy5CYXNlLk9iamVjdHMuVmFyaWFibGUDAAAAAXoZAABPAQAAAQAAAAAAAAABexkAAE8BAAAAAAAAAAAAAAF8GQAATwEAAAAAAAAAAAAAAX0ZAABPAQAAAAAAAAAAAAAPxxcAAAEAAAAIWQAAAAXIFwAAGkFwbG9yaXMuQmFzZS5PYmplY3RzLkNvbG9yBwAAABJEYXRhT2JqZWN0K21QYXJlbnQVRGF0YU9iamVjdCttQ29udGFpbmVyBW1UeXBlBG1SR0IQbVRoZW1lQ29sb3JJbmRleAxtQXV0b1VwZGF0ZWQJbU1vZGlmaWVkBAIAAAAAAB9BcGxvcmlzLkJhc2UuT2JqZWN0cy5MaW5lRm9ybWF0AwAAAAgICAEBAwAAAAmaEgAACgAAAAD///8ADgAAAAAABckXAAAaQXBsb3Jpcy5CYXNlLk9iamVjdHMuQ29sb3IHAAAAEkRhdGFPYmplY3QrbVBhcmVudBVEYXRhT2JqZWN0K21Db250YWluZXIFbVR5cGUEbVJHQhBtVGhlbWVDb2xvckluZGV4DG1BdXRvVXBkYXRlZAltTW9kaWZpZWQEAgAAAAAAH0FwbG9yaXMuQmFzZS5PYmplY3RzLkxpbmVGb3JtYXQDAAAACAgIAQEDAAAACZoSAAAKAQAAAAAAAAD/////AAEByhcAAGkAAAAKCgEAAADITkgA/////wAAAcsXAABpAAAACgoBAAAA////AP////8AAA/MFwAAAQAAAAgoAAAAAc0XAABpAAAACgoAAAAA////AA4AAAAAAAHOFwAAaQAAAAoKAAAAAP///wAOAAAAAAEHzxcAAAABAAAABAAAAAQdQXBsb3Jpcy5CYXNlLk9iamVjdHMuVmFyaWFibGUDAAAAAX4ZAABPAQAAAQAAAAAAAAABfxkAAE8BAAAAAAAAAAAAAAGAGQAATwEAAAAAAAAAAAAAAYEZAABPAQAAAAAAAAAAAAAP0BcAAAEAAAAIWgAAAAXRFwAAGkFwbG9yaXMuQmFzZS5PYmplY3RzLkNvbG9yBwAAABJEYXRhT2JqZWN0K21QYXJlbnQVRGF0YU9iamVjdCttQ29udGFpbmVyBW1UeXBlBG1SR0IQbVRoZW1lQ29sb3JJbmRleAxtQXV0b1VwZGF0ZWQJbU1vZGlmaWVkBAIAAAAAAB9BcGxvcmlzLkJhc2UuT2JqZWN0cy5MaW5lRm9ybWF0AwAAAAgICAEBAwAAAAm3EgAACgAAAAD///8ADgAAAAAABdIXAAAaQXBsb3Jpcy5CYXNlLk9iamVjdHMuQ29sb3IHAAAAEkRhdGFPYmplY3QrbVBhcmVudBVEYXRhT2JqZWN0K21Db250YWluZXIFbVR5cGUEbVJHQhBtVGhlbWVDb2xvckluZGV4DG1BdXRvVXBkYXRlZAltTW9kaWZpZWQEAgAAAAAAH0FwbG9yaXMuQmFzZS5PYmplY3RzLkxpbmVGb3JtYXQDAAAACAgIAQEDAAAACbcSAAAKAQAAAAAAAAD/////AAEB0xcAAGkAAAAKCgEAAADITkgA/////wAAAdQXAABpAAAACgoBAAAA////AP////8AAA/VFwAAAQAAAAglAAAAAdYXAABpAAAACgoAAAAA////AA4AAAAAAAHXFwAAaQAAAAoKAAAAAP///wAOAAAAAAEH2BcAAAABAAAABAAAAAQdQXBsb3Jpcy5CYXNlLk9iamVjdHMuVmFyaWFibGUDAAAAAYIZAABPAQAAAQAAAAAAAAABgxkAAE8BAAAAAAAAAAAAAAGEGQAATwEAAAAAAAAAAAAAAYUZAABPAQAAAAAAAAAAAAAP2RcAAAEAAAAIXgAAAAXaFwAAGkFwbG9yaXMuQmFzZS5PYmplY3RzLkNvbG9yBwAAABJEYXRhT2JqZWN0K21QYXJlbnQVRGF0YU9iamVjdCttQ29udGFpbmVyBW1UeXBlBG1SR0IQbVRoZW1lQ29sb3JJbmRleAxtQXV0b1VwZGF0ZWQJbU1vZGlmaWVkBAIAAAAAAB9BcGxvcmlzLkJhc2UuT2JqZWN0cy5MaW5lRm9ybWF0AwAAAAgICAEBAwAAAAnUEgAACgAAAAD///8ADgAAAAAABdsXAAAaQXBsb3Jpcy5CYXNlLk9iamVjdHMuQ29sb3IHAAAAEkRhdGFPYmplY3QrbVBhcmVudBVEYXRhT2JqZWN0K21Db250YWluZXIFbVR5cGUEbVJHQhBtVGhlbWVDb2xvckluZGV4DG1BdXRvVXBkYXRlZAltTW9kaWZpZWQEAgAAAAAAH0FwbG9yaXMuQmFzZS5PYmplY3RzLkxpbmVGb3JtYXQDAAAACAgIAQEDAAAACdQSAAAKAQAAAAAAAAD/////AAEB3BcAAGkAAAAKCgEAAADITkgA/////wAAAd0XAABpAAAACgoBAAAA////AP////8AAA/eFwAAAQAAAAgmAAAAAd8XAABpAAAACgoAAAAA////AA4AAAAAAAHgFwAAaQAAAAoKAAAAAP///wAOAAAAAAEH4RcAAAABAAAABAAAAAQdQXBsb3Jpcy5CYXNlLk9iamVjdHMuVmFyaWFibGUDAAAAAYYZAABPAQAAAQAAAAAAAAABhxkAAE8BAAAAAAAAAAAAAAGIGQAATwEAAAAAAAAAAAAAAYkZAABPAQAAAAAAAAAAAAAP4hcAAAEAAAAIYgAAAAXjFwAAGkFwbG9yaXMuQmFzZS5PYmplY3RzLkNvbG9yBwAAABJEYXRhT2JqZWN0K21QYXJlbnQVRGF0YU9iamVjdCttQ29udGFpbmVyBW1UeXBlBG1SR0IQbVRoZW1lQ29sb3JJbmRleAxtQXV0b1VwZGF0ZWQJbU1vZGlmaWVkBAIAAAAAAB9BcGxvcmlzLkJhc2UuT2JqZWN0cy5MaW5lRm9ybWF0AwAAAAgICAEBAwAAAAnxEgAACgAAAAD///8ADgAAAAAABeQXAAAaQXBsb3Jpcy5CYXNlLk9iamVjdHMuQ29sb3IHAAAAEkRhdGFPYmplY3QrbVBhcmVudBVEYXRhT2JqZWN0K21Db250YWluZXIFbVR5cGUEbVJHQhBtVGhlbWVDb2xvckluZGV4DG1BdXRvVXBkYXRlZAltTW9kaWZpZWQEAgAAAAAAH0FwbG9yaXMuQmFzZS5PYmplY3RzLkxpbmVGb3JtYXQDAAAACAgIAQEDAAAACfESAAAKAQAAAAAAAAD/////AAEB5RcAAGkAAAAKCgEAAADITkgA/////wAAAeYXAABpAAAACgoBAAAA////AP////8AAA/nFwAAAQAAAAgnAAAAAegXAABpAAAACgoAAAAA////AA4AAAAAAAHpFwAAaQAAAAoKAAAAAP///wAOAAAAAAEH6hcAAAABAAAABAAAAAQdQXBsb3Jpcy5CYXNlLk9iamVjdHMuVmFyaWFibGUDAAAAAYoZAABPAQAAAQAAAAAAAAABixkAAE8BAAAAAAAAAAAAAAGMGQAATwEAAAAAAAAAAAAAAY0ZAABPAQAAAAAAAAAAAAAP6xcAAAEAAAAIYwAAAAXsFwAAGkFwbG9yaXMuQmFzZS5PYmplY3RzLkNvbG9yBwAAABJEYXRhT2JqZWN0K21QYXJlbnQVRGF0YU9iamVjdCttQ29udGFpbmVyBW1UeXBlBG1SR0IQbVRoZW1lQ29sb3JJbmRleAxtQXV0b1VwZGF0ZWQJbU1vZGlmaWVkBAIAAAAAAB9BcGxvcmlzLkJhc2UuT2JqZWN0cy5MaW5lRm9ybWF0AwAAAAgICAEBAwAAAAkOEwAACgAAAAD///8ADgAAAAAABe0XAAAaQXBsb3Jpcy5CYXNlLk9iamVjdHMuQ29sb3IHAAAAEkRhdGFPYmplY3QrbVBhcmVudBVEYXRhT2JqZWN0K21Db250YWluZXIFbVR5cGUEbVJHQhBtVGhlbWVDb2xvckluZGV4DG1BdXRvVXBkYXRlZAltTW9kaWZpZWQEAgAAAAAAH0FwbG9yaXMuQmFzZS5PYmplY3RzLkxpbmVGb3JtYXQDAAAACAgIAQEDAAAACQ4TAAAKAQAAAAAAAAD/////AAEB7hcAAGkAAAAKCgEAAADITkgA/////wAAAe8XAABpAAAACgoBAAAA////AP////8AAA/wFwAAAQAAAAgkAAAAAfEXAABpAAAACgoAAAAA////AA4AAAAAAAHyFwAAaQAAAAoKAAAAAP///wAOAAAAAAEH8xcAAAABAAAABAAAAAQdQXBsb3Jpcy5CYXNlLk9iamVjdHMuVmFyaWFibGUDAAAAAY4ZAABPAQAAAQAAAAAAAAABjxkAAE8BAAAAAAAAAAAAAAGQGQAATwEAAAAAAAAAAAAAAZEZAABPAQAAAAAAAAAAAAAP9BcAAAEAAAAIZAAAAAX1FwAAGkFwbG9yaXMuQmFzZS5PYmplY3RzLkNvbG9yBwAAABJEYXRhT2JqZWN0K21QYXJlbnQVRGF0YU9iamVjdCttQ29udGFpbmVyBW1UeXBlBG1SR0IQbVRoZW1lQ29sb3JJbmRleAxtQXV0b1VwZGF0ZWQJbU1vZGlmaWVkBAIAAAAAAB9BcGxvcmlzLkJhc2UuT2JqZWN0cy5MaW5lRm9ybWF0AwAAAAgICAEBAwAAAAkrEwAACgAAAAD///8ADgAAAAAABfYXAAAaQXBsb3Jpcy5CYXNlLk9iamVjdHMuQ29sb3IHAAAAEkRhdGFPYmplY3QrbVBhcmVudBVEYXRhT2JqZWN0K21Db250YWluZXIFbVR5cGUEbVJHQhBtVGhlbWVDb2xvckluZGV4DG1BdXRvVXBkYXRlZAltTW9kaWZpZWQEAgAAAAAAH0FwbG9yaXMuQmFzZS5PYmplY3RzLkxpbmVGb3JtYXQDAAAACAgIAQEDAAAACSsTAAAKAQAAAAAAAAD/////AAEB9xcAAGkAAAAKCgEAAADITkgA/////wAAAfgXAABpAAAACgoBAAAA////AP////8AAA/5FwAAAQAAAAgqAAAAAfoXAABpAAAACgoAAAAA////AA4AAAAAAAH7FwAAaQAAAAoKAAAAAP///wAOAAAAAAEH/BcAAAABAAAABAAAAAQdQXBsb3Jpcy5CYXNlLk9iamVjdHMuVmFyaWFibGUDAAAAAZIZAABPAQAAAQAAAAAAAAABkxkAAE8BAAAAAAAAAAAAAAGUGQAATwEAAAAAAAAAAAAAAZUZAABPAQAAAAAAAAAAAAAP/RcAAAEAAAAIXwAAAAX+FwAAGkFwbG9yaXMuQmFzZS5PYmplY3RzLkNvbG9yBwAAABJEYXRhT2JqZWN0K21QYXJlbnQVRGF0YU9iamVjdCttQ29udGFpbmVyBW1UeXBlBG1SR0IQbVRoZW1lQ29sb3JJbmRleAxtQXV0b1VwZGF0ZWQJbU1vZGlmaWVkBAIAAAAAAB9BcGxvcmlzLkJhc2UuT2JqZWN0cy5MaW5lRm9ybWF0AwAAAAgICAEBAwAAAAlIEwAACgAAAAD///8ADgAAAAAABf8XAAAaQXBsb3Jpcy5CYXNlLk9iamVjdHMuQ29sb3IHAAAAEkRhdGFPYmplY3QrbVBhcmVudBVEYXRhT2JqZWN0K21Db250YWluZXIFbVR5cGUEbVJHQhBtVGhlbWVDb2xvckluZGV4DG1BdXRvVXBkYXRlZAltTW9kaWZpZWQEAgAAAAAAH0FwbG9yaXMuQmFzZS5PYmplY3RzLkxpbmVGb3JtYXQDAAAACAgIAQEDAAAACUgTAAAKAQAAAAAAAAD/////AAEBABgAAGkAAAAKCgEAAADITkgA/////wAAAQEYAABpAAAACgoBAAAA////AP////8AAA8CGAAAAQAAAAgLAAAAAQMYAABpAAAACgoAAAAA////AA4AAAAAAAEEGAAAaQAAAAoKAAAAAP///wAOAAAAAAEHBRgAAAABAAAABAAAAAQdQXBsb3Jpcy5CYXNlLk9iamVjdHMuVmFyaWFibGUDAAAAAZYZAABPAQAAAQAAAAAAAAABlxkAAE8BAAAAAAAAAAAAAAGYGQAATwEAAAAAAAAAAAAAAZkZAABPAQAAAAAAAAAAAAAPBhgAAAEAAAAIYAAAAAUHGAAAGkFwbG9yaXMuQmFzZS5PYmplY3RzLkNvbG9yBwAAABJEYXRhT2JqZWN0K21QYXJlbnQVRGF0YU9iamVjdCttQ29udGFpbmVyBW1UeXBlBG1SR0IQbVRoZW1lQ29sb3JJbmRleAxtQXV0b1VwZGF0ZWQJbU1vZGlmaWVkBAIAAAAAAB9BcGxvcmlzLkJhc2UuT2JqZWN0cy5MaW5lRm9ybWF0AwAAAAgICAEBAwAAAAllEwAACgAAAAD///8ADgAAAAAABQgYAAAaQXBsb3Jpcy5CYXNlLk9iamVjdHMuQ29sb3IHAAAAEkRhdGFPYmplY3QrbVBhcmVudBVEYXRhT2JqZWN0K21Db250YWluZXIFbVR5cGUEbVJHQhBtVGhlbWVDb2xvckluZGV4DG1BdXRvVXBkYXRlZAltTW9kaWZpZWQEAgAAAAAAH0FwbG9yaXMuQmFzZS5PYmplY3RzLkxpbmVGb3JtYXQDAAAACAgIAQEDAAAACWUTAAAKAQAAAAAAAAD/////AAEBCRgAAGkAAAAKCgEAAADITkgA/////wAAAQoYAABpAAAACgoBAAAA////AP////8AAA8LGAAAAQAAAAgMAAAAAQwYAABpAAAACgoAAAAA////AA4AAAAAAAENGAAAaQAAAAoKAAAAAP///wAOAAAAAAEHDhgAAAABAAAABAAAAAQdQXBsb3Jpcy5CYXNlLk9iamVjdHMuVmFyaWFibGUDAAAAAZoZAABPAQAAAQAAAAAAAAABmxkAAE8BAAAAAAAAAAAAAAGcGQAATwEAAAAAAAAAAAAAAZ0ZAABPAQAAAAAAAAAAAAAPDxgAAAEAAAAIYQAAAAUQGAAAGkFwbG9yaXMuQmFzZS5PYmplY3RzLkNvbG9yBwAAABJEYXRhT2JqZWN0K21QYXJlbnQVRGF0YU9iamVjdCttQ29udGFpbmVyBW1UeXBlBG1SR0IQbVRoZW1lQ29sb3JJbmRleAxtQXV0b1VwZGF0ZWQJbU1vZGlmaWVkBAIAAAAAAB9BcGxvcmlzLkJhc2UuT2JqZWN0cy5MaW5lRm9ybWF0AwAAAAgICAEBAwAAAAmCEwAACgAAAAD///8ADgAAAAAABREYAAAaQXBsb3Jpcy5CYXNlLk9iamVjdHMuQ29sb3IHAAAAEkRhdGFPYmplY3QrbVBhcmVudBVEYXRhT2JqZWN0K21Db250YWluZXIFbVR5cGUEbVJHQhBtVGhlbWVDb2xvckluZGV4DG1BdXRvVXBkYXRlZAltTW9kaWZpZWQEAgAAAAAAH0FwbG9yaXMuQmFzZS5PYmplY3RzLkxpbmVGb3JtYXQDAAAACAgIAQEDAAAACYITAAAKAQAAAAAAAAD/////AAEBEhgAAGkAAAAKCgEAAADITkgA/////wAAARMYAABpAAAACgoBAAAA////AP////8AAA8UGAAAAQAAAAgJAAAAARUYAABpAAAACgoAAAAA////AA4AAAAAAAEWGAAAaQAAAAoKAAAAAP///wAOAAAAAAEHFxgAAAABAAAABAAAAAQdQXBsb3Jpcy5CYXNlLk9iamVjdHMuVmFyaWFibGUDAAAAAZ4ZAABPAQAAAQAAAAAAAAABnxkAAE8BAAAAAAAAAAAAAAGgGQAATwEAAAAAAAAAAAAAAaEZAABPAQAAAAAAAAAAAAAPGBgAAAEAAAAITgAAAAUZGAAAGkFwbG9yaXMuQmFzZS5PYmplY3RzLkNvbG9yBwAAABJEYXRhT2JqZWN0K21QYXJlbnQVRGF0YU9iamVjdCttQ29udGFpbmVyBW1UeXBlBG1SR0IQbVRoZW1lQ29sb3JJbmRleAxtQXV0b1VwZGF0ZWQJbU1vZGlmaWVkBAIAAAAAAB9BcGxvcmlzLkJhc2UuT2JqZWN0cy5MaW5lRm9ybWF0AwAAAAgICAEBAwAAAAmfEwAACgAAAAD///8ADgAAAAAABRoYAAAaQXBsb3Jpcy5CYXNlLk9iamVjdHMuQ29sb3IHAAAAEkRhdGFPYmplY3QrbVBhcmVudBVEYXRhT2JqZWN0K21Db250YWluZXIFbVR5cGUEbVJHQhBtVGhlbWVDb2xvckluZGV4DG1BdXRvVXBkYXRlZAltTW9kaWZpZWQEAgAAAAAAH0FwbG9yaXMuQmFzZS5PYmplY3RzLkxpbmVGb3JtYXQDAAAACAgIAQEDAAAACZ8TAAAKAQAAAAAAAAD/////AAEBGxgAAGkAAAAKCgEAAADITkgA/////wAAARwYAABpAAAACgoBAAAA////AP////8AAA8dGAAAAQAAAAgKAAAAAR4YAABpAAAACgoAAAAA////AA4AAAAAAAEfGAAAaQAAAAoKAAAAAP///wAOAAAAAAEHIBgAAAABAAAABAAAAAQdQXBsb3Jpcy5CYXNlLk9iamVjdHMuVmFyaWFibGUDAAAAAaIZAABPAQAAAQAAAAAAAAABoxkAAE8BAAAAAAAAAAAAAAGkGQAATwEAAAAAAAAAAAAAAaUZAABPAQAAAAAAAAAAAAAPIRgAAAEAAAAITwAAAAUiGAAAGkFwbG9yaXMuQmFzZS5PYmplY3RzLkNvbG9yBwAAABJEYXRhT2JqZWN0K21QYXJlbnQVRGF0YU9iamVjdCttQ29udGFpbmVyBW1UeXBlBG1SR0IQbVRoZW1lQ29sb3JJbmRleAxtQXV0b1VwZGF0ZWQJbU1vZGlmaWVkBAIAAAAAAB9BcGxvcmlzLkJhc2UuT2JqZWN0cy5MaW5lRm9ybWF0AwAAAAgICAEBAwAAAAm8EwAACgAAAAD///8ADgAAAAAABSMYAAAaQXBsb3Jpcy5CYXNlLk9iamVjdHMuQ29sb3IHAAAAEkRhdGFPYmplY3QrbVBhcmVudBVEYXRhT2JqZWN0K21Db250YWluZXIFbVR5cGUEbVJHQhBtVGhlbWVDb2xvckluZGV4DG1BdXRvVXBkYXRlZAltTW9kaWZpZWQEAgAAAAAAH0FwbG9yaXMuQmFzZS5PYmplY3RzLkxpbmVGb3JtYXQDAAAACAgIAQEDAAAACbwTAAAKAQAAAAAAAAD/////AAEBJBgAAGkAAAAKCgEAAADITkgA/////wAAASUYAABpAAAACgoBAAAA////AP////8AAA8mGAAAAQAAAAgPAAAAAScYAABpAAAACgoAAAAA////AA4AAAAAAAEoGAAAaQAAAAoKAAAAAP///wAOAAAAAAEHKRgAAAABAAAABAAAAAQdQXBsb3Jpcy5CYXNlLk9iamVjdHMuVmFyaWFibGUDAAAAAaYZAABPAQAAAQAAAAAAAAABpxkAAE8BAAAAAAAAAAAAAAGoGQAATwEAAAAAAAAAAAAAAakZAABPAQAAAAAAAAAAAAAPKhgAAAEAAAAIUAAAAAUrGAAAGkFwbG9yaXMuQmFzZS5PYmplY3RzLkNvbG9yBwAAABJEYXRhT2JqZWN0K21QYXJlbnQVRGF0YU9iamVjdCttQ29udGFpbmVyBW1UeXBlBG1SR0IQbVRoZW1lQ29sb3JJbmRleAxtQXV0b1VwZGF0ZWQJbU1vZGlmaWVkBAIAAAAAAB9BcGxvcmlzLkJhc2UuT2JqZWN0cy5MaW5lRm9ybWF0AwAAAAgICAEBAwAAAAnZEwAACgAAAAD///8ADgAAAAAABSwYAAAaQXBsb3Jpcy5CYXNlLk9iamVjdHMuQ29sb3IHAAAAEkRhdGFPYmplY3QrbVBhcmVudBVEYXRhT2JqZWN0K21Db250YWluZXIFbVR5cGUEbVJHQhBtVGhlbWVDb2xvckluZGV4DG1BdXRvVXBkYXRlZAltTW9kaWZpZWQEAgAAAAAAH0FwbG9yaXMuQmFzZS5PYmplY3RzLkxpbmVGb3JtYXQDAAAACAgIAQEDAAAACdkTAAAKAQAAAAAAAAD/////AAEBLRgAAGkAAAAKCgEAAADITkgA/////wAAAS4YAABpAAAACgoBAAAA////AP////8AAA8vGAAAAQAAAAgQAAAAATAYAABpAAAACgoAAAAA////AA4AAAAAAAExGAAAaQAAAAoKAAAAAP///wAOAAAAAAEHMhgAAAABAAAABAAAAAQdQXBsb3Jpcy5CYXNlLk9iamVjdHMuVmFyaWFibGUDAAAAAaoZAABPAQAAAQAAAAAAAAABqxkAAE8BAAAAAAAAAAAAAAGsGQAATwEAAAAAAAAAAAAAAa0ZAABPAQAAAAAAAAAAAAAPMxgAAAEAAAAISwAAAAU0GAAAGkFwbG9yaXMuQmFzZS5PYmplY3RzLkNvbG9yBwAAABJEYXRhT2JqZWN0K21QYXJlbnQVRGF0YU9iamVjdCttQ29udGFpbmVyBW1UeXBlBG1SR0IQbVRoZW1lQ29sb3JJbmRleAxtQXV0b1VwZGF0ZWQJbU1vZGlmaWVkBAIAAAAAAB9BcGxvcmlzLkJhc2UuT2JqZWN0cy5MaW5lRm9ybWF0AwAAAAgICAEBAwAAAAn2EwAACgAAAAD///8ADgAAAAAABTUYAAAaQXBsb3Jpcy5CYXNlLk9iamVjdHMuQ29sb3IHAAAAEkRhdGFPYmplY3QrbVBhcmVudBVEYXRhT2JqZWN0K21Db250YWluZXIFbVR5cGUEbVJHQhBtVGhlbWVDb2xvckluZGV4DG1BdXRvVXBkYXRlZAltTW9kaWZpZWQEAgAAAAAAH0FwbG9yaXMuQmFzZS5PYmplY3RzLkxpbmVGb3JtYXQDAAAACAgIAQEDAAAACfYTAAAKAQAAAAAAAAD/////AAEBNhgAAGkAAAAKCgEAAADITkgA/////wAAATcYAABpAAAACgoBAAAA////AP////8AAA84GAAAAQAAAAgNAAAAATkYAABpAAAACgoAAAAA////AA4AAAAAAAE6GAAAaQAAAAoKAAAAAP///wAOAAAAAAEHOxgAAAABAAAABAAAAAQdQXBsb3Jpcy5CYXNlLk9iamVjdHMuVmFyaWFibGUDAAAAAa4ZAABPAQAAAQAAAAAAAAABrxkAAE8BAAAAAAAAAAAAAAGwGQAATwEAAAAAAAAAAAAAAbEZAABPAQAAAAAAAAAAAAAPPBgAAAEAAAAITAAAAAU9GAAAGkFwbG9yaXMuQmFzZS5PYmplY3RzLkNvbG9yBwAAABJEYXRhT2JqZWN0K21QYXJlbnQVRGF0YU9iamVjdCttQ29udGFpbmVyBW1UeXBlBG1SR0IQbVRoZW1lQ29sb3JJbmRleAxtQXV0b1VwZGF0ZWQJbU1vZGlmaWVkBAIAAAAAAB9BcGxvcmlzLkJhc2UuT2JqZWN0cy5MaW5lRm9ybWF0AwAAAAgICAEBAwAAAAkTFAAACgAAAAD///8ADgAAAAAABT4YAAAaQXBsb3Jpcy5CYXNlLk9iamVjdHMuQ29sb3IHAAAAEkRhdGFPYmplY3QrbVBhcmVudBVEYXRhT2JqZWN0K21Db250YWluZXIFbVR5cGUEbVJHQhBtVGhlbWVDb2xvckluZGV4DG1BdXRvVXBkYXRlZAltTW9kaWZpZWQEAgAAAAAAH0FwbG9yaXMuQmFzZS5PYmplY3RzLkxpbmVGb3JtYXQDAAAACAgIAQEDAAAACRMUAAAKAQAAAAAAAAD/////AAEBPxgAAGkAAAAKCgEAAADITkgA/////wAAAUAYAABpAAAACgoBAAAA////AP////8AAA9BGAAAAQAAAAgOAAAAAUIYAABpAAAACgoAAAAA////AA4AAAAAAAFDGAAAaQAAAAoKAAAAAP///wAOAAAAAAEHRBgAAAABAAAABAAAAAQdQXBsb3Jpcy5CYXNlLk9iamVjdHMuVmFyaWFibGUDAAAAAbIZAABPAQAAAQAAAAAAAAABsxkAAE8BAAAAAAAAAAAAAAG0GQAATwEAAAAAAAAAAAAAAbUZAABPAQAAAAAAAAAAAAAPRRgAAAEAAAAITQAAAAVGGAAAGkFwbG9yaXMuQmFzZS5PYmplY3RzLkNvbG9yBwAAABJEYXRhT2JqZWN0K21QYXJlbnQVRGF0YU9iamVjdCttQ29udGFpbmVyBW1UeXBlBG1SR0IQbVRoZW1lQ29sb3JJbmRleAxtQXV0b1VwZGF0ZWQJbU1vZGlmaWVkBAIAAAAAAB9BcGxvcmlzLkJhc2UuT2JqZWN0cy5MaW5lRm9ybWF0AwAAAAgICAEBAwAAAAkwFAAACgAAAAD///8ADgAAAAAABUcYAAAaQXBsb3Jpcy5CYXNlLk9iamVjdHMuQ29sb3IHAAAAEkRhdGFPYmplY3QrbVBhcmVudBVEYXRhT2JqZWN0K21Db250YWluZXIFbVR5cGUEbVJHQhBtVGhlbWVDb2xvckluZGV4DG1BdXRvVXBkYXRlZAltTW9kaWZpZWQEAgAAAAAAH0FwbG9yaXMuQmFzZS5PYmplY3RzLkxpbmVGb3JtYXQDAAAACAgIAQEDAAAACTAUAAAKAQAAAAAAAAD/////AAEBSBgAAGkAAAAKCgEAAADITkgA/////wAAAUkYAABpAAAACgoBAAAA////AP////8AAA9KGAAAAQAAAAgDAAAAAUsYAABpAAAACgoAAAAA////AA4AAAAAAAFMGAAAaQAAAAoKAAAAAP///wAOAAAAAAEHTRgAAAABAAAABAAAAAQdQXBsb3Jpcy5CYXNlLk9iamVjdHMuVmFyaWFibGUDAAAAAbYZAABPAQAAAQAAAAAAAAABtxkAAE8BAAAAAAAAAAAAAAG4GQAATwEAAAAAAAAAAAAAAbkZAABPAQAAAAAAAAAAAAAPThgAAAEAAAAIUQAAAAVPGAAAGkFwbG9yaXMuQmFzZS5PYmplY3RzLkNvbG9yBwAAABJEYXRhT2JqZWN0K21QYXJlbnQVRGF0YU9iamVjdCttQ29udGFpbmVyBW1UeXBlBG1SR0IQbVRoZW1lQ29sb3JJbmRleAxtQXV0b1VwZGF0ZWQJbU1vZGlmaWVkBAIAAAAAAB9BcGxvcmlzLkJhc2UuT2JqZWN0cy5MaW5lRm9ybWF0AwAAAAgICAEBAwAAAAlNFAAACgAAAAD///8ADgAAAAAABVAYAAAaQXBsb3Jpcy5CYXNlLk9iamVjdHMuQ29sb3IHAAAAEkRhdGFPYmplY3QrbVBhcmVudBVEYXRhT2JqZWN0K21Db250YWluZXIFbVR5cGUEbVJHQhBtVGhlbWVDb2xvckluZGV4DG1BdXRvVXBkYXRlZAltTW9kaWZpZWQEAgAAAAAAH0FwbG9yaXMuQmFzZS5PYmplY3RzLkxpbmVGb3JtYXQDAAAACAgIAQEDAAAACU0UAAAKAQAAAAAAAAD/////AAEBURgAAGkAAAAKCgEAAADITkgA/////wAAAVIYAABpAAAACgoBAAAA////AP////8AAA9TGAAAAQAAAAgEAAAAAVQYAABpAAAACgoAAAAA////AA4AAAAAAAFVGAAAaQAAAAoKAAAAAP///wAOAAAAAAEHVhgAAAABAAAABAAAAAQdQXBsb3Jpcy5CYXNlLk9iamVjdHMuVmFyaWFibGUDAAAAAboZAABPAQAAAQAAAAAAAAABuxkAAE8BAAAAAAAAAAAAAAG8GQAATwEAAAAAAAAAAAAAAb0ZAABPAQAAAAAAAAAAAAAPVxgAAAEAAAAIVQAAAAVYGAAAGkFwbG9yaXMuQmFzZS5PYmplY3RzLkNvbG9yBwAAABJEYXRhT2JqZWN0K21QYXJlbnQVRGF0YU9iamVjdCttQ29udGFpbmVyBW1UeXBlBG1SR0IQbVRoZW1lQ29sb3JJbmRleAxtQXV0b1VwZGF0ZWQJbU1vZGlmaWVkBAIAAAAAAB9BcGxvcmlzLkJhc2UuT2JqZWN0cy5MaW5lRm9ybWF0AwAAAAgICAEBAwAAAAlqFAAACgAAAAD///8ADgAAAAAABVkYAAAaQXBsb3Jpcy5CYXNlLk9iamVjdHMuQ29sb3IHAAAAEkRhdGFPYmplY3QrbVBhcmVudBVEYXRhT2JqZWN0K21Db250YWluZXIFbVR5cGUEbVJHQhBtVGhlbWVDb2xvckluZGV4DG1BdXRvVXBkYXRlZAltTW9kaWZpZWQEAgAAAAAAH0FwbG9yaXMuQmFzZS5PYmplY3RzLkxpbmVGb3JtYXQDAAAACAgIAQEDAAAACWoUAAAKAQAAAAAAAAD/////AAEBWhgAAGkAAAAKCgEAAADITkgA/////wAAAVsYAABpAAAACgoBAAAA////AP////8AAA9cGAAAAQAAAAgBAAAAAV0YAABpAAAACgoAAAAA////AA4AAAAAAAFeGAAAaQAAAAoKAAAAAP///wAOAAAAAAEHXxgAAAABAAAABAAAAAQdQXBsb3Jpcy5CYXNlLk9iamVjdHMuVmFyaWFibGUDAAAAAb4ZAABPAQAAAQAAAAAAAAABvxkAAE8BAAAAAAAAAAAAAAHAGQAATwEAAAAAAAAAAAAAAcEZAABPAQAAAAAAAAAAAAAPYBgAAAEAAAAIVgAAAAVhGAAAGkFwbG9yaXMuQmFzZS5PYmplY3RzLkNvbG9yBwAAABJEYXRhT2JqZWN0K21QYXJlbnQVRGF0YU9iamVjdCttQ29udGFpbmVyBW1UeXBlBG1SR0IQbVRoZW1lQ29sb3JJbmRleAxtQXV0b1VwZGF0ZWQJbU1vZGlmaWVkBAIAAAAAAB9BcGxvcmlzLkJhc2UuT2JqZWN0cy5MaW5lRm9ybWF0AwAAAAgICAEBAwAAAAmHFAAACgAAAAD///8ADgAAAAAABWIYAAAaQXBsb3Jpcy5CYXNlLk9iamVjdHMuQ29sb3IHAAAAEkRhdGFPYmplY3QrbVBhcmVudBVEYXRhT2JqZWN0K21Db250YWluZXIFbVR5cGUEbVJHQhBtVGhlbWVDb2xvckluZGV4DG1BdXRvVXBkYXRlZAltTW9kaWZpZWQEAgAAAAAAH0FwbG9yaXMuQmFzZS5PYmplY3RzLkxpbmVGb3JtYXQDAAAACAgIAQEDAAAACYcUAAAKAQAAAAAAAAD/////AAEBYxgAAGkAAAAKCgEAAADITkgA/////wAAAWQYAABpAAAACgoBAAAA////AP////8AAA9lGAAAAQAAAAgCAAAAAWYYAABpAAAACgoAAAAAAAAAAA0AAAAAAQFnGAAAaQAAAAoKAQAAAAAAAAD/////AAEHaBgAAAABAAAABAAAAAQdQXBsb3Jpcy5CYXNlLk9iamVjdHMuVmFyaWFibGUDAAAAAcIZAABPAQAAAQAAAAAAAAABwxkAAE8BAAAAAAAAAAAAAAHEGQAATwEAAAAAAAAAAAAAAcUZAABPAQAAAAAAAAAAAAAPaRgAAAEAAAAIAAAAAAVqGAAAGkFwbG9yaXMuQmFzZS5PYmplY3RzLkNvbG9yBwAAABJEYXRhT2JqZWN0K21QYXJlbnQVRGF0YU9iamVjdCttQ29udGFpbmVyBW1UeXBlBG1SR0IQbVRoZW1lQ29sb3JJbmRleAxtQXV0b1VwZGF0ZWQJbU1vZGlmaWVkBAIAAAAAAB9BcGxvcmlzLkJhc2UuT2JqZWN0cy5MaW5lRm9ybWF0AwAAAAgICAEBAwAAAAmkFAAACgAAAAD///8ADgAAAAAABWsYAAAaQXBsb3Jpcy5CYXNlLk9iamVjdHMuQ29sb3IHAAAAEkRhdGFPYmplY3QrbVBhcmVudBVEYXRhT2JqZWN0K21Db250YWluZXIFbVR5cGUEbVJHQhBtVGhlbWVDb2xvckluZGV4DG1BdXRvVXBkYXRlZAltTW9kaWZpZWQEAgAAAAAAH0FwbG9yaXMuQmFzZS5PYmplY3RzLkxpbmVGb3JtYXQDAAAACAgIAQEDAAAACaQUAAAKAQAAAAAAAAD/////AAEBbBgAAGkAAAAKCgEAAADn5+cA/////wAAAW0YAABpAAAACgoBAAAA////AP////8AAA9uGAAAAQAAAAgdAAAAAW8YAABpAAAACgoAAAAAAAAAAA0AAAAAAQFwGAAAaQAAAAoKAQAAAAAAAAD/////AAEHcRgAAAABAAAABAAAAAQdQXBsb3Jpcy5CYXNlLk9iamVjdHMuVmFyaWFibGUDAAAAAcYZAABPAQAAAQAAAAAAAAABxxkAAE8BAAAAAAAAAAAAAAHIGQAATwEAAAAAAAAAAAAAAckZAABPAQAAAAAAAAAAAAAPchgAAAEAAAAIAAAAAAVzGAAAGkFwbG9yaXMuQmFzZS5PYmplY3RzLkNvbG9yBwAAABJEYXRhT2JqZWN0K21QYXJlbnQVRGF0YU9iamVjdCttQ29udGFpbmVyBW1UeXBlBG1SR0IQbVRoZW1lQ29sb3JJbmRleAxtQXV0b1VwZGF0ZWQJbU1vZGlmaWVkBAIAAAAAAB9BcGxvcmlzLkJhc2UuT2JqZWN0cy5MaW5lRm9ybWF0AwAAAAgICAEBAwAAAAnBFAAACgAAAAD///8ADgAAAAAABXQYAAAaQXBsb3Jpcy5CYXNlLk9iamVjdHMuQ29sb3IHAAAAEkRhdGFPYmplY3QrbVBhcmVudBVEYXRhT2JqZWN0K21Db250YWluZXIFbVR5cGUEbVJHQhBtVGhlbWVDb2xvckluZGV4DG1BdXRvVXBkYXRlZAltTW9kaWZpZWQEAgAAAAAAH0FwbG9yaXMuQmFzZS5PYmplY3RzLkxpbmVGb3JtYXQDAAAACAgIAQEDAAAACcEUAAAKAQAAAAAAAAD/////AAEBdRgAAGkAAAAKCgEAAADn5+cA/////wAAAXYYAABpAAAACgoBAAAA////AP////8AAA93GAAAAQAAAAgHAAAAAXgYAABpAAAACgoAAAAAAAAAAA0AAAAAAQF5GAAAaQAAAAoKAQAAAAAAAAD/////AAEHehgAAAABAAAABAAAAAQdQXBsb3Jpcy5CYXNlLk9iamVjdHMuVmFyaWFibGUDAAAAAcoZAABPAQAAAQAAAAAAAAAByxkAAE8BAAAAAAAAAAAAAAHMGQAATwEAAAAAAAAAAAAAAc0ZAABPAQAAAAAAAAAAAAAPexgAAAEAAAAIAAAAAAV8GAAAGkFwbG9yaXMuQmFzZS5PYmplY3RzLkNvbG9yBwAAABJEYXRhT2JqZWN0K21QYXJlbnQVRGF0YU9iamVjdCttQ29udGFpbmVyBW1UeXBlBG1SR0IQbVRoZW1lQ29sb3JJbmRleAxtQXV0b1VwZGF0ZWQJbU1vZGlmaWVkBAIAAAAAAB9BcGxvcmlzLkJhc2UuT2JqZWN0cy5MaW5lRm9ybWF0AwAAAAgICAEBAwAAAAneFAAACgAAAAD///8ADgAAAAAABX0YAAAaQXBsb3Jpcy5CYXNlLk9iamVjdHMuQ29sb3IHAAAAEkRhdGFPYmplY3QrbVBhcmVudBVEYXRhT2JqZWN0K21Db250YWluZXIFbVR5cGUEbVJHQhBtVGhlbWVDb2xvckluZGV4DG1BdXRvVXBkYXRlZAltTW9kaWZpZWQEAgAAAAAAH0FwbG9yaXMuQmFzZS5PYmplY3RzLkxpbmVGb3JtYXQDAAAACAgIAQEDAAAACd4UAAAKAQAAAAAAAAD/////AAEBfhgAAGkAAAAKCgEAAADn5+cA/////wAAAX8YAABpAAAACgoBAAAA////AP////8AAA+AGAAAAQAAAAgWAAAAAYEYAABpAAAACgoAAAAAAAAAAA0AAAAAAQGCGAAAaQAAAAoKAQAAAAAAAAD/////AAEHgxgAAAABAAAABAAAAAQdQXBsb3Jpcy5CYXNlLk9iamVjdHMuVmFyaWFibGUDAAAAAc4ZAABPAQAAAQAAAAAAAAABzxkAAE8BAAAAAAAAAAAAAAHQGQAATwEAAAAAAAAAAAAAAdEZAABPAQAAAAAAAAAAAAAPhBgAAAEAAAAIAAAAAAWFGAAAGkFwbG9yaXMuQmFzZS5PYmplY3RzLkNvbG9yBwAAABJEYXRhT2JqZWN0K21QYXJlbnQVRGF0YU9iamVjdCttQ29udGFpbmVyBW1UeXBlBG1SR0IQbVRoZW1lQ29sb3JJbmRleAxtQXV0b1VwZGF0ZWQJbU1vZGlmaWVkBAIAAAAAAB9BcGxvcmlzLkJhc2UuT2JqZWN0cy5MaW5lRm9ybWF0AwAAAAgICAEBAwAAAAn7FAAACgAAAAD///8ADgAAAAAABYYYAAAaQXBsb3Jpcy5CYXNlLk9iamVjdHMuQ29sb3IHAAAAEkRhdGFPYmplY3QrbVBhcmVudBVEYXRhT2JqZWN0K21Db250YWluZXIFbVR5cGUEbVJHQhBtVGhlbWVDb2xvckluZGV4DG1BdXRvVXBkYXRlZAltTW9kaWZpZWQEAgAAAAAAH0FwbG9yaXMuQmFzZS5PYmplY3RzLkxpbmVGb3JtYXQDAAAACAgIAQEDAAAACfsUAAAKAQAAAAAAAAD/////AAEBhxgAAGkAAAAKCgEAAADn5+cA/////wAAAYgYAABpAAAACgoBAAAA////AP////8AAA+JGAAAAQAAAAgaAAAAAYoYAABpAAAACgoAAAAAAAAAAA0AAAAAAQGLGAAAaQAAAAoKAQAAAAAAAAD/////AAEHjBgAAAABAAAABAAAAAQdQXBsb3Jpcy5CYXNlLk9iamVjdHMuVmFyaWFibGUDAAAAAdIZAABPAQAAAQAAAAAAAAAB0xkAAE8BAAAAAAAAAAAAAAHUGQAATwEAAAAAAAAAAAAAAdUZAABPAQAAAAAAAAAAAAAPjRgAAAEAAAAIAAAAAAWOGAAAGkFwbG9yaXMuQmFzZS5PYmplY3RzLkNvbG9yBwAAABJEYXRhT2JqZWN0K21QYXJlbnQVRGF0YU9iamVjdCttQ29udGFpbmVyBW1UeXBlBG1SR0IQbVRoZW1lQ29sb3JJbmRleAxtQXV0b1VwZGF0ZWQJbU1vZGlmaWVkBAIAAAAAAB9BcGxvcmlzLkJhc2UuT2JqZWN0cy5MaW5lRm9ybWF0AwAAAAgICAEBAwAAAAkYFQAACgAAAAD///8ADgAAAAAABY8YAAAaQXBsb3Jpcy5CYXNlLk9iamVjdHMuQ29sb3IHAAAAEkRhdGFPYmplY3QrbVBhcmVudBVEYXRhT2JqZWN0K21Db250YWluZXIFbVR5cGUEbVJHQhBtVGhlbWVDb2xvckluZGV4DG1BdXRvVXBkYXRlZAltTW9kaWZpZWQEAgAAAAAAH0FwbG9yaXMuQmFzZS5PYmplY3RzLkxpbmVGb3JtYXQDAAAACAgIAQEDAAAACRgVAAAKAQAAAAAAAAD/////AAEBkBgAAGkAAAAKCgEAAADn5+cA/////wAAAZEYAABpAAAACgoBAAAA////AP////8AAA+SGAAAAQAAAAgUAAAAAZMYAABpAAAACgoAAAAAAAAAAA0AAAAAAQGUGAAAaQAAAAoKAQAAAAAAAAD/////AAEHlRgAAAABAAAABAAAAAQdQXBsb3Jpcy5CYXNlLk9iamVjdHMuVmFyaWFibGUDAAAAAdYZAABPAQAAAQAAAAAAAAAB1xkAAE8BAAAAAAAAAAAAAAHYGQAATwEAAAAAAAAAAAAAAdkZAABPAQAAAAAAAAAAAAAPlhgAAAEAAAAIAAAAAAWXGAAAGkFwbG9yaXMuQmFzZS5PYmplY3RzLkNvbG9yBwAAABJEYXRhT2JqZWN0K21QYXJlbnQVRGF0YU9iamVjdCttQ29udGFpbmVyBW1UeXBlBG1SR0IQbVRoZW1lQ29sb3JJbmRleAxtQXV0b1VwZGF0ZWQJbU1vZGlmaWVkBAIAAAAAAB9BcGxvcmlzLkJhc2UuT2JqZWN0cy5MaW5lRm9ybWF0AwAAAAgICAEBAwAAAAk1FQAACgAAAAD///8ADgAAAAAABZgYAAAaQXBsb3Jpcy5CYXNlLk9iamVjdHMuQ29sb3IHAAAAEkRhdGFPYmplY3QrbVBhcmVudBVEYXRhT2JqZWN0K21Db250YWluZXIFbVR5cGUEbVJHQhBtVGhlbWVDb2xvckluZGV4DG1BdXRvVXBkYXRlZAltTW9kaWZpZWQEAgAAAAAAH0FwbG9yaXMuQmFzZS5PYmplY3RzLkxpbmVGb3JtYXQDAAAACAgIAQEDAAAACTUVAAAKAQAAAAAAAAD/////AAEBmRgAAGkAAAAKCgEAAADn5+cA/////wAAAZoYAABpAAAACgoBAAAA////AP////8AAA+bGAAAAQAAAAgcAAAAAZwYAABpAAAACgoAAAAAAAAAAA0AAAAAAQGdGAAAaQAAAAoKAQAAAAAAAAD/////AAEHnhgAAAABAAAABAAAAAQdQXBsb3Jpcy5CYXNlLk9iamVjdHMuVmFyaWFibGUDAAAAAdoZAABPAQAAAQAAAAAAAAAB2xkAAE8BAAAAAAAAAAAAAAHcGQAATwEAAAAAAAAAAAAAAd0ZAABPAQAAAAAAAAAAAAAPnxgAAAEAAAAIAAAAAAWgGAAAGkFwbG9yaXMuQmFzZS5PYmplY3RzLkNvbG9yBwAAABJEYXRhT2JqZWN0K21QYXJlbnQVRGF0YU9iamVjdCttQ29udGFpbmVyBW1UeXBlBG1SR0IQbVRoZW1lQ29sb3JJbmRleAxtQXV0b1VwZGF0ZWQJbU1vZGlmaWVkBAIAAAAAAB9BcGxvcmlzLkJhc2UuT2JqZWN0cy5MaW5lRm9ybWF0AwAAAAgICAEBAwAAAAlSFQAACgAAAAD///8ADgAAAAAABaEYAAAaQXBsb3Jpcy5CYXNlLk9iamVjdHMuQ29sb3IHAAAAEkRhdGFPYmplY3QrbVBhcmVudBVEYXRhT2JqZWN0K21Db250YWluZXIFbVR5cGUEbVJHQhBtVGhlbWVDb2xvckluZGV4DG1BdXRvVXBkYXRlZAltTW9kaWZpZWQEAgAAAAAAH0FwbG9yaXMuQmFzZS5PYmplY3RzLkxpbmVGb3JtYXQDAAAACAgIAQEDAAAACVIVAAAKAQAAAAAAAAD/////AAEBohgAAGkAAAAKCgEAAADn5+cA/////wAAAaMYAABpAAAACgoBAAAA////AP////8AAA+kGAAAAQAAAAgZAAAAAaUYAABpAAAACgoAAAAAAAAAAA0AAAAAAQGmGAAAaQAAAAoKAQAAAAAAAAD/////AAEHpxgAAAABAAAABAAAAAQdQXBsb3Jpcy5CYXNlLk9iamVjdHMuVmFyaWFibGUDAAAAAd4ZAABPAQAAAQAAAAAAAAAB3xkAAE8BAAAAAAAAAAAAAAHgGQAATwEAAAAAAAAAAAAAAeEZAABPAQAAAAAAAAAAAAAPqBgAAAEAAAAIAAAAAAWpGAAAGkFwbG9yaXMuQmFzZS5PYmplY3RzLkNvbG9yBwAAABJEYXRhT2JqZWN0K21QYXJlbnQVRGF0YU9iamVjdCttQ29udGFpbmVyBW1UeXBlBG1SR0IQbVRoZW1lQ29sb3JJbmRleAxtQXV0b1VwZGF0ZWQJbU1vZGlmaWVkBAIAAAAAAB9BcGxvcmlzLkJhc2UuT2JqZWN0cy5MaW5lRm9ybWF0AwAAAAgICAEBAwAAAAlvFQAACgAAAAD///8ADgAAAAAABaoYAAAaQXBsb3Jpcy5CYXNlLk9iamVjdHMuQ29sb3IHAAAAEkRhdGFPYmplY3QrbVBhcmVudBVEYXRhT2JqZWN0K21Db250YWluZXIFbVR5cGUEbVJHQhBtVGhlbWVDb2xvckluZGV4DG1BdXRvVXBkYXRlZAltTW9kaWZpZWQEAgAAAAAAH0FwbG9yaXMuQmFzZS5PYmplY3RzLkxpbmVGb3JtYXQDAAAACAgIAQEDAAAACW8VAAAKAQAAAAAAAAD/////AAEBqxgAAGkAAAAKCgEAAADn5+cA/////wAAAawYAABpAAAACgoBAAAA////AP////8AAA+tGAAAAQAAAAgXAAAAAa4YAABpAAAACgoAAAAAAAAAAA0AAAAAAQGvGAAAaQAAAAoKAQAAAAAAAAD/////AAEHsBgAAAABAAAABAAAAAQdQXBsb3Jpcy5CYXNlLk9iamVjdHMuVmFyaWFibGUDAAAAAeIZAABPAQAAAQAAAAAAAAAB4xkAAE8BAAAAAAAAAAAAAAHkGQAATwEAAAAAAAAAAAAAAeUZAABPAQAAAAAAAAAAAAAPsRgAAAEAAAAIAAAAAAWyGAAAGkFwbG9yaXMuQmFzZS5PYmplY3RzLkNvbG9yBwAAABJEYXRhT2JqZWN0K21QYXJlbnQVRGF0YU9iamVjdCttQ29udGFpbmVyBW1UeXBlBG1SR0IQbVRoZW1lQ29sb3JJbmRleAxtQXV0b1VwZGF0ZWQJbU1vZGlmaWVkBAIAAAAAAB9BcGxvcmlzLkJhc2UuT2JqZWN0cy5MaW5lRm9ybWF0AwAAAAgICAEBAwAAAAmMFQAACgAAAAD///8ADgAAAAAABbMYAAAaQXBsb3Jpcy5CYXNlLk9iamVjdHMuQ29sb3IHAAAAEkRhdGFPYmplY3QrbVBhcmVudBVEYXRhT2JqZWN0K21Db250YWluZXIFbVR5cGUEbVJHQhBtVGhlbWVDb2xvckluZGV4DG1BdXRvVXBkYXRlZAltTW9kaWZpZWQEAgAAAAAAH0FwbG9yaXMuQmFzZS5PYmplY3RzLkxpbmVGb3JtYXQDAAAACAgIAQEDAAAACYwVAAAKAQAAAAAAAAD/////AAEBtBgAAGkAAAAKCgEAAADn5+cA/////wAAAbUYAABpAAAACgoBAAAA////AP////8AAA+2GAAAAQAAAAgSAAAAAbcYAABpAAAACgoAAAAAAAAAAA0AAAAAAQG4GAAAaQAAAAoKAQAAAAAAAAD/////AAEHuRgAAAABAAAABAAAAAQdQXBsb3Jpcy5CYXNlLk9iamVjdHMuVmFyaWFibGUDAAAAAeYZAABPAQAAAQAAAAAAAAAB5xkAAE8BAAAAAAAAAAAAAAHoGQAATwEAAAAAAAAAAAAAAekZAABPAQAAAAAAAAAAAAAPuhgAAAEAAAAIAAAAAAW7GAAAGkFwbG9yaXMuQmFzZS5PYmplY3RzLkNvbG9yBwAAABJEYXRhT2JqZWN0K21QYXJlbnQVRGF0YU9iamVjdCttQ29udGFpbmVyBW1UeXBlBG1SR0IQbVRoZW1lQ29sb3JJbmRleAxtQXV0b1VwZGF0ZWQJbU1vZGlmaWVkBAIAAAAAAB9BcGxvcmlzLkJhc2UuT2JqZWN0cy5MaW5lRm9ybWF0AwAAAAgICAEBAwAAAAmpFQAACgAAAAD///8ADgAAAAAABbwYAAAaQXBsb3Jpcy5CYXNlLk9iamVjdHMuQ29sb3IHAAAAEkRhdGFPYmplY3QrbVBhcmVudBVEYXRhT2JqZWN0K21Db250YWluZXIFbVR5cGUEbVJHQhBtVGhlbWVDb2xvckluZGV4DG1BdXRvVXBkYXRlZAltTW9kaWZpZWQEAgAAAAAAH0FwbG9yaXMuQmFzZS5PYmplY3RzLkxpbmVGb3JtYXQDAAAACAgIAQEDAAAACakVAAAKAQAAAAAAAAD/////AAEBvRgAAGkAAAAKCgEAAADn5+cA/////wAAAb4YAABpAAAACgoBAAAA////AP////8AAA+/GAAAAQAAAAgFAAAAAcAYAABpAAAACgoAAAAAAAAAAA0AAAAAAQHBGAAAaQAAAAoKAQAAAAAAAAD/////AAEHwhgAAAABAAAABAAAAAQdQXBsb3Jpcy5CYXNlLk9iamVjdHMuVmFyaWFibGUDAAAAAeoZAABPAQAAAQAAAAAAAAAB6xkAAE8BAAAAAAAAAAAAAAHsGQAATwEAAAAAAAAAAAAAAe0ZAABPAQAAAAAAAAAAAAAPwxgAAAEAAAAIAAAAAAXEGAAAGkFwbG9yaXMuQmFzZS5PYmplY3RzLkNvbG9yBwAAABJEYXRhT2JqZWN0K21QYXJlbnQVRGF0YU9iamVjdCttQ29udGFpbmVyBW1UeXBlBG1SR0IQbVRoZW1lQ29sb3JJbmRleAxtQXV0b1VwZGF0ZWQJbU1vZGlmaWVkBAIAAAAAAB9BcGxvcmlzLkJhc2UuT2JqZWN0cy5MaW5lRm9ybWF0AwAAAAgICAEBAwAAAAnGFQAACgAAAAD///8ADgAAAAAABcUYAAAaQXBsb3Jpcy5CYXNlLk9iamVjdHMuQ29sb3IHAAAAEkRhdGFPYmplY3QrbVBhcmVudBVEYXRhT2JqZWN0K21Db250YWluZXIFbVR5cGUEbVJHQhBtVGhlbWVDb2xvckluZGV4DG1BdXRvVXBkYXRlZAltTW9kaWZpZWQEAgAAAAAAH0FwbG9yaXMuQmFzZS5PYmplY3RzLkxpbmVGb3JtYXQDAAAACAgIAQEDAAAACcYVAAAKAQAAAAAAAAD/////AAEBxhgAAGkAAAAKCgEAAADn5+cA/////wAAAccYAABpAAAACgoBAAAA////AP////8AAA/IGAAAAQAAAAgVAAAAAckYAABpAAAACgoAAAAAAAAAAA0AAAAAAQHKGAAAaQAAAAoKAQAAAAAAAAD/////AAEHyxgAAAABAAAABAAAAAQdQXBsb3Jpcy5CYXNlLk9iamVjdHMuVmFyaWFibGUDAAAAAe4ZAABPAQAAAQAAAAAAAAAB7xkAAE8BAAAAAAAAAAAAAAHwGQAATwEAAAAAAAAAAAAAAfEZAABPAQAAAAAAAAAAAAAPzBgAAAEAAAAIAAAAAAXNGAAAGkFwbG9yaXMuQmFzZS5PYmplY3RzLkNvbG9yBwAAABJEYXRhT2JqZWN0K21QYXJlbnQVRGF0YU9iamVjdCttQ29udGFpbmVyBW1UeXBlBG1SR0IQbVRoZW1lQ29sb3JJbmRleAxtQXV0b1VwZGF0ZWQJbU1vZGlmaWVkBAIAAAAAAB9BcGxvcmlzLkJhc2UuT2JqZWN0cy5MaW5lRm9ybWF0AwAAAAgICAEBAwAAAAnjFQAACgAAAAD///8ADgAAAAAABc4YAAAaQXBsb3Jpcy5CYXNlLk9iamVjdHMuQ29sb3IHAAAAEkRhdGFPYmplY3QrbVBhcmVudBVEYXRhT2JqZWN0K21Db250YWluZXIFbVR5cGUEbVJHQhBtVGhlbWVDb2xvckluZGV4DG1BdXRvVXBkYXRlZAltTW9kaWZpZWQEAgAAAAAAH0FwbG9yaXMuQmFzZS5PYmplY3RzLkxpbmVGb3JtYXQDAAAACAgIAQEDAAAACeMVAAAKAQAAAAAAAAD/////AAEBzxgAAGkAAAAKCgEAAADn5+cA/////wAAAdAYAABpAAAACgoBAAAA////AP////8AAA/RGAAAAQAAAAgGAAAAAdIYAABpAAAACgoAAAAAAAAAAA0AAAAAAQHTGAAAaQAAAAoKAQAAAAAAAAD/////AAEH1BgAAAABAAAABAAAAAQdQXBsb3Jpcy5CYXNlLk9iamVjdHMuVmFyaWFibGUDAAAAAfIZAABPAQAAAQAAAAAAAAAB8xkAAE8BAAAAAAAAAAAAAAH0GQAATwEAAAAAAAAAAAAAAfUZAABPAQAAAAAAAAAAAAAP1RgAAAEAAAAIAAAAAAXWGAAAGkFwbG9yaXMuQmFzZS5PYmplY3RzLkNvbG9yBwAAABJEYXRhT2JqZWN0K21QYXJlbnQVRGF0YU9iamVjdCttQ29udGFpbmVyBW1UeXBlBG1SR0IQbVRoZW1lQ29sb3JJbmRleAxtQXV0b1VwZGF0ZWQJbU1vZGlmaWVkBAIAAAAAAB9BcGxvcmlzLkJhc2UuT2JqZWN0cy5MaW5lRm9ybWF0AwAAAAgICAEBAwAAAAkAFgAACgAAAAD///8ADgAAAAAABdcYAAAaQXBsb3Jpcy5CYXNlLk9iamVjdHMuQ29sb3IHAAAAEkRhdGFPYmplY3QrbVBhcmVudBVEYXRhT2JqZWN0K21Db250YWluZXIFbVR5cGUEbVJHQhBtVGhlbWVDb2xvckluZGV4DG1BdXRvVXBkYXRlZAltTW9kaWZpZWQEAgAAAAAAH0FwbG9yaXMuQmFzZS5PYmplY3RzLkxpbmVGb3JtYXQDAAAACAgIAQEDAAAACQAWAAAKAQAAAAAAAAD/////AAEB2BgAAGkAAAAKCgEAAADn5+cA/////wAAAdkYAABpAAAACgoBAAAA////AP////8AAA/aGAAAAQAAAAggAAAAAdsYAABpAAAACgoAAAAAAAAAAA0AAAAAAQHcGAAAaQAAAAoKAQAAAAAAAAD/////AAEH3RgAAAABAAAABAAAAAQdQXBsb3Jpcy5CYXNlLk9iamVjdHMuVmFyaWFibGUDAAAAAfYZAABPAQAAAQAAAAAAAAAB9xkAAE8BAAAAAAAAAAAAAAH4GQAATwEAAAAAAAAAAAAAAfkZAABPAQAAAAAAAAAAAAAP3hgAAAEAAAAIAAAAAAXfGAAAGkFwbG9yaXMuQmFzZS5PYmplY3RzLkNvbG9yBwAAABJEYXRhT2JqZWN0K21QYXJlbnQVRGF0YU9iamVjdCttQ29udGFpbmVyBW1UeXBlBG1SR0IQbVRoZW1lQ29sb3JJbmRleAxtQXV0b1VwZGF0ZWQJbU1vZGlmaWVkBAIAAAAAAB9BcGxvcmlzLkJhc2UuT2JqZWN0cy5MaW5lRm9ybWF0AwAAAAgICAEBAwAAAAkdFgAACgAAAAD///8ADgAAAAAABeAYAAAaQXBsb3Jpcy5CYXNlLk9iamVjdHMuQ29sb3IHAAAAEkRhdGFPYmplY3QrbVBhcmVudBVEYXRhT2JqZWN0K21Db250YWluZXIFbVR5cGUEbVJHQhBtVGhlbWVDb2xvckluZGV4DG1BdXRvVXBkYXRlZAltTW9kaWZpZWQEAgAAAAAAH0FwbG9yaXMuQmFzZS5PYmplY3RzLkxpbmVGb3JtYXQDAAAACAgIAQEDAAAACR0WAAAKAQAAAAAAAAD/////AAEB4RgAAGkAAAAKCgEAAADn5+cA/////wAAAeIYAABpAAAACgoBAAAA////AP////8AAA/jGAAAAQAAAAgTAAAAAeQYAABpAAAACgoAAAAAAAAAAA0AAAAAAQHlGAAAaQAAAAoKAQAAAAAAAAD/////AAEH5hgAAAABAAAABAAAAAQdQXBsb3Jpcy5CYXNlLk9iamVjdHMuVmFyaWFibGUDAAAAAfoZAABPAQAAAQAAAAAAAAAB+xkAAE8BAAAAAAAAAAAAAAH8GQAATwEAAAAAAAAAAAAAAf0ZAABPAQAAAAAAAAAAAAAP5xgAAAEAAAAIAAAAAAXoGAAAGkFwbG9yaXMuQmFzZS5PYmplY3RzLkNvbG9yBwAAABJEYXRhT2JqZWN0K21QYXJlbnQVRGF0YU9iamVjdCttQ29udGFpbmVyBW1UeXBlBG1SR0IQbVRoZW1lQ29sb3JJbmRleAxtQXV0b1VwZGF0ZWQJbU1vZGlmaWVkBAIAAAAAAB9BcGxvcmlzLkJhc2UuT2JqZWN0cy5MaW5lRm9ybWF0AwAAAAgICAEBAwAAAAk6FgAACgAAAAD///8ADgAAAAAABekYAAAaQXBsb3Jpcy5CYXNlLk9iamVjdHMuQ29sb3IHAAAAEkRhdGFPYmplY3QrbVBhcmVudBVEYXRhT2JqZWN0K21Db250YWluZXIFbVR5cGUEbVJHQhBtVGhlbWVDb2xvckluZGV4DG1BdXRvVXBkYXRlZAltTW9kaWZpZWQEAgAAAAAAH0FwbG9yaXMuQmFzZS5PYmplY3RzLkxpbmVGb3JtYXQDAAAACAgIAQEDAAAACToWAAAKAQAAAAAAAAD/////AAEB6hgAAGkAAAAKCgEAAADn5+cA/////wAAAesYAABpAAAACgoBAAAA////AP////8AAA/sGAAAAQAAAAgbAAAAAe0YAABpAAAACgoAAAAAAAAAAA0AAAAAAQHuGAAAaQAAAAoKAQAAAAAAAAD/////AAEH7xgAAAABAAAABAAAAAQdQXBsb3Jpcy5CYXNlLk9iamVjdHMuVmFyaWFibGUDAAAAAf4ZAABPAQAAAQAAAAAAAAAB/xkAAE8BAAAAAAAAAAAAAAEAGgAATwEAAAAAAAAAAAAAAQEaAABPAQAAAAAAAAAAAAAP8BgAAAEAAAAIAAAAAAXxGAAAGkFwbG9yaXMuQmFzZS5PYmplY3RzLkNvbG9yBwAAABJEYXRhT2JqZWN0K21QYXJlbnQVRGF0YU9iamVjdCttQ29udGFpbmVyBW1UeXBlBG1SR0IQbVRoZW1lQ29sb3JJbmRleAxtQXV0b1VwZGF0ZWQJbU1vZGlmaWVkBAIAAAAAAB9BcGxvcmlzLkJhc2UuT2JqZWN0cy5MaW5lRm9ybWF0AwAAAAgICAEBAwAAAAlXFgAACgAAAAD///8ADgAAAAAABfIYAAAaQXBsb3Jpcy5CYXNlLk9iamVjdHMuQ29sb3IHAAAAEkRhdGFPYmplY3QrbVBhcmVudBVEYXRhT2JqZWN0K21Db250YWluZXIFbVR5cGUEbVJHQhBtVGhlbWVDb2xvckluZGV4DG1BdXRvVXBkYXRlZAltTW9kaWZpZWQEAgAAAAAAH0FwbG9yaXMuQmFzZS5PYmplY3RzLkxpbmVGb3JtYXQDAAAACAgIAQEDAAAACVcWAAAKAQAAAAAAAAD/////AAEB8xgAAGkAAAAKCgEAAADn5+cA/////wAAAfQYAABpAAAACgoBAAAA////AP////8AAA/1GAAAAQAAAAgfAAAAAfYYAABpAAAACgoAAAAAAAAAAA0AAAAAAQH3GAAAaQAAAAoKAQAAAAAAAAD/////AAEH+BgAAAABAAAABAAAAAQdQXBsb3Jpcy5CYXNlLk9iamVjdHMuVmFyaWFibGUDAAAAAQIaAABPAQAAAQAAAAAAAAABAxoAAE8BAAAAAAAAAAAAAAEEGgAATwEAAAAAAAAAAAAAAQUaAABPAQAAAAAAAAAAAAAP+RgAAAEAAAAIAAAAAAX6GAAAGkFwbG9yaXMuQmFzZS5PYmplY3RzLkNvbG9yBwAAABJEYXRhT2JqZWN0K21QYXJlbnQVRGF0YU9iamVjdCttQ29udGFpbmVyBW1UeXBlBG1SR0IQbVRoZW1lQ29sb3JJbmRleAxtQXV0b1VwZGF0ZWQJbU1vZGlmaWVkBAIAAAAAAB9BcGxvcmlzLkJhc2UuT2JqZWN0cy5MaW5lRm9ybWF0AwAAAAgICAEBAwAAAAl0FgAACgAAAAD///8ADgAAAAAABfsYAAAaQXBsb3Jpcy5CYXNlLk9iamVjdHMuQ29sb3IHAAAAEkRhdGFPYmplY3QrbVBhcmVudBVEYXRhT2JqZWN0K21Db250YWluZXIFbVR5cGUEbVJHQhBtVGhlbWVDb2xvckluZGV4DG1BdXRvVXBkYXRlZAltTW9kaWZpZWQEAgAAAAAAH0FwbG9yaXMuQmFzZS5PYmplY3RzLkxpbmVGb3JtYXQDAAAACAgIAQEDAAAACXQWAAAKAQAAAAAAAAD/////AAEB/BgAAGkAAAAKCgEAAADn5+cA/////wAAAf0YAABpAAAACgoBAAAA////AP////8AAA/+GAAAAQAAAAgeAAAAAf8YAABpAAAACgoAAAAAAAAAAA0AAAAAAQEAGQAAaQAAAAoKAQAAAAAAAAD/////AAEHARkAAAABAAAABAAAAAQdQXBsb3Jpcy5CYXNlLk9iamVjdHMuVmFyaWFibGUDAAAAAQYaAABPAQAAAQAAAAAAAAABBxoAAE8BAAAAAAAAAAAAAAEIGgAATwEAAAAAAAAAAAAAAQkaAABPAQAAAAAAAAAAAAAPAhkAAAEAAAAIAAAAAAUDGQAAGkFwbG9yaXMuQmFzZS5PYmplY3RzLkNvbG9yBwAAABJEYXRhT2JqZWN0K21QYXJlbnQVRGF0YU9iamVjdCttQ29udGFpbmVyBW1UeXBlBG1SR0IQbVRoZW1lQ29sb3JJbmRleAxtQXV0b1VwZGF0ZWQJbU1vZGlmaWVkBAIAAAAAAB9BcGxvcmlzLkJhc2UuT2JqZWN0cy5MaW5lRm9ybWF0AwAAAAgICAEBAwAAAAmRFgAACgAAAAD///8ADgAAAAAABQQZAAAaQXBsb3Jpcy5CYXNlLk9iamVjdHMuQ29sb3IHAAAAEkRhdGFPYmplY3QrbVBhcmVudBVEYXRhT2JqZWN0K21Db250YWluZXIFbVR5cGUEbVJHQhBtVGhlbWVDb2xvckluZGV4DG1BdXRvVXBkYXRlZAltTW9kaWZpZWQEAgAAAAAAH0FwbG9yaXMuQmFzZS5PYmplY3RzLkxpbmVGb3JtYXQDAAAACAgIAQEDAAAACZEWAAAKAQAAAAAAAAD/////AAEBBRkAAGkAAAAKCgEAAADn5+cA/////wAAAQYZAABpAAAACgoBAAAA////AP////8AAA8HGQAAAQAAAAgIAAAAAQgZAABpAAAACgoAAAAAAAAAAA0AAAAAAQEJGQAAaQAAAAoKAQAAAAAAAAD/////AAEHChkAAAABAAAABAAAAAQdQXBsb3Jpcy5CYXNlLk9iamVjdHMuVmFyaWFibGUDAAAAAQoaAABPAQAAAQAAAAAAAAABCxoAAE8BAAAAAAAAAAAAAAEMGgAATwEAAAAAAAAAAAAAAQ0aAABPAQAAAAAAAAAAAAAPCxkAAAEAAAAIAAAAAAUMGQAAGkFwbG9yaXMuQmFzZS5PYmplY3RzLkNvbG9yBwAAABJEYXRhT2JqZWN0K21QYXJlbnQVRGF0YU9iamVjdCttQ29udGFpbmVyBW1UeXBlBG1SR0IQbVRoZW1lQ29sb3JJbmRleAxtQXV0b1VwZGF0ZWQJbU1vZGlmaWVkBAIAAAAAAB9BcGxvcmlzLkJhc2UuT2JqZWN0cy5MaW5lRm9ybWF0AwAAAAgICAEBAwAAAAmuFgAACgAAAAD///8ADgAAAAAABQ0ZAAAaQXBsb3Jpcy5CYXNlLk9iamVjdHMuQ29sb3IHAAAAEkRhdGFPYmplY3QrbVBhcmVudBVEYXRhT2JqZWN0K21Db250YWluZXIFbVR5cGUEbVJHQhBtVGhlbWVDb2xvckluZGV4DG1BdXRvVXBkYXRlZAltTW9kaWZpZWQEAgAAAAAAH0FwbG9yaXMuQmFzZS5PYmplY3RzLkxpbmVGb3JtYXQDAAAACAgIAQEDAAAACa4WAAAKAQAAAAAAAAD/////AAEBDhkAAGkAAAAKCgEAAADn5+cA/////wAAAQ8ZAABpAAAACgoBAAAA////AP////8AAA8QGQAAAQAAAAgRAAAAAREZAABpAAAACgoAAAAAAAAAAA0AAAAAAQESGQAAaQAAAAoKAQAAAAAAAAD/////AAEHExkAAAABAAAABAAAAAQdQXBsb3Jpcy5CYXNlLk9iamVjdHMuVmFyaWFibGUDAAAAAQ4aAABPAQAAAQAAAAAAAAABDxoAAE8BAAAAAAAAAAAAAAEQGgAATwEAAAAAAAAAAAAAAREaAABPAQAAAAAAAAAAAAAPFBkAAAEAAAAIAAAAAAUVGQAAGkFwbG9yaXMuQmFzZS5PYmplY3RzLkNvbG9yBwAAABJEYXRhT2JqZWN0K21QYXJlbnQVRGF0YU9iamVjdCttQ29udGFpbmVyBW1UeXBlBG1SR0IQbVRoZW1lQ29sb3JJbmRleAxtQXV0b1VwZGF0ZWQJbU1vZGlmaWVkBAIAAAAAAB9BcGxvcmlzLkJhc2UuT2JqZWN0cy5MaW5lRm9ybWF0AwAAAAgICAEBAwAAAAnLFgAACgAAAAD///8ADgAAAAAABRYZAAAaQXBsb3Jpcy5CYXNlLk9iamVjdHMuQ29sb3IHAAAAEkRhdGFPYmplY3QrbVBhcmVudBVEYXRhT2JqZWN0K21Db250YWluZXIFbVR5cGUEbVJHQhBtVGhlbWVDb2xvckluZGV4DG1BdXRvVXBkYXRlZAltTW9kaWZpZWQEAgAAAAAAH0FwbG9yaXMuQmFzZS5PYmplY3RzLkxpbmVGb3JtYXQDAAAACAgIAQEDAAAACcsWAAAKAQAAAAAAAAD/////AAEBFxkAAGkAAAAKCgEAAADn5+cA/////wAAARgZAABpAAAACgoBAAAA////AP////8AAA8ZGQAAAQAAAAgYAAAAARoZAABpAAAACgoAAAAAAAAAAA0AAAAAAAEbGQAAaQAAAAoKAQAAAAAAAAD/////AAEHHBkAAAABAAAABAAAAAQdQXBsb3Jpcy5CYXNlLk9iamVjdHMuVmFyaWFibGUDAAAAARIaAABPAQAAAQAAAAAAAAABExoAAE8BAAAAAAAAAAAAAAEUGgAATwEAAAAAAAAAAAAAARUaAABPAQAAAAAAAAAAAAAPHRkAAAEAAAAIbwAAAAEeGQAAaQAAAAoKAAAAAAAAAAANAAAAAAABHxkAAGkAAAAKCgEAAAAAAAAA/////wABByAZAAAAAQAAAAQAAAAEHUFwbG9yaXMuQmFzZS5PYmplY3RzLlZhcmlhYmxlAwAAAAEWGgAATwEAAAEAAAAAAAAAARcaAABPAQAAAAAAAAAAAAABGBoAAE8BAAAAAAAAAAAAAAEZGgAATwEAAAAAAAAAAAAADyEZAAABAAAACGsAAAABIhkAAGkAAAAKCgAAAAAAAAAADQAAAAAAASMZAABpAAAACgoBAAAAAAAAAP////8AAQckGQAAAAEAAAAEAAAABB1BcGxvcmlzLkJhc2UuT2JqZWN0cy5WYXJpYWJsZQMAAAABGhoAAE8BAAABAAAAAAAAAAEbGgAATwEAAAAAAAAAAAAAARwaAABPAQAAAAAAAAAAAAABHRoAAE8BAAAAAAAAAAAAAA8lGQAAAQAAAAhHAAAAASYZAABpAAAACgoAAAAAAAAAAA0AAAAAAAEnGQAAaQAAAAoKAQAAAAAAAAD/////AAEHKBkAAAABAAAABAAAAAQdQXBsb3Jpcy5CYXNlLk9iamVjdHMuVmFyaWFibGUDAAAAAR4aAABPAQAAAQAAAAAAAAABHxoAAE8BAAAAAAAAAAAAAAEgGgAATwEAAAAAAAAAAAAAASEaAABPAQAAAAAAAAAAAAAPKRkAAAEAAAAIcgAAAAEqGQAAaQAAAAoKAAAAAAAAAAANAAAAAAABKxkAAGkAAAAKCgEAAAAAAAAA/////wABBywZAAAAAQAAAAQAAAAEHUFwbG9yaXMuQmFzZS5PYmplY3RzLlZhcmlhYmxlAwAAAAEiGgAATwEAAAEAAAAAAAAAASMaAABPAQAAAAAAAAAAAAABJBoAAE8BAAAAAAAAAAAAAAElGgAATwEAAAAAAAAAAAAADy0ZAAABAAAACEQAAAABLhkAAGkAAAAKCgAAAAAAAAAADQAAAAAAAS8ZAABpAAAACgoBAAAAAAAAAP////8AAQcwGQAAAAEAAAAEAAAABB1BcGxvcmlzLkJhc2UuT2JqZWN0cy5WYXJpYWJsZQMAAAABJhoAAE8BAAABAAAAAAAAAAEnGgAATwEAAAAAAAAAAAAAASgaAABPAQAAAAAAAAAAAAABKRoAAE8BAAAAAAAAAAAAAA8xGQAAAQAAAAhwAAAAATIZAABpAAAACgoAAAAAAAAAAA0AAAAAAAEzGQAAaQAAAAoKAQAAAAAAAAD/////AAEHNBkAAAABAAAABAAAAAQdQXBsb3Jpcy5CYXNlLk9iamVjdHMuVmFyaWFibGUDAAAAASoaAABPAQAAAQAAAAAAAAABKxoAAE8BAAAAAAAAAAAAAAEsGgAATwEAAAAAAAAAAAAAAS0aAABPAQAAAAAAAAAAAAAPNRkAAAEAAAAIcQAAAAE2GQAAaQAAAAoKAAAAAAAAAAANAAAAAAABNxkAAGkAAAAKCgEAAAAAAAAA/////wABBzgZAAAAAQAAAAQAAAAEHUFwbG9yaXMuQmFzZS5PYmplY3RzLlZhcmlhYmxlAwAAAAEuGgAATwEAAAEAAAAAAAAAAS8aAABPAQAAAAAAAAAAAAABMBoAAE8BAAAAAAAAAAAAAAExGgAATwEAAAAAAAAAAAAADzkZAAABAAAACEkAAAABOhkAAGkAAAAKCgAAAAAAAAAADQAAAAAAATsZAABpAAAACgoBAAAAAAAAAP////8AAQc8GQAAAAEAAAAEAAAABB1BcGxvcmlzLkJhc2UuT2JqZWN0cy5WYXJpYWJsZQMAAAABMhoAAE8BAAABAAAAAAAAAAEzGgAATwEAAAAAAAAAAAAAATQaAABPAQAAAAAAAAAAAAABNRoAAE8BAAAAAAAAAAAAAA89GQAAAQAAAAhDAAAAAT4ZAABpAAAACgoAAAAAAAAAAA0AAAAAAAE/GQAAaQAAAAoKAQAAAAAAAAD/////AAEHQBkAAAABAAAABAAAAAQdQXBsb3Jpcy5CYXNlLk9iamVjdHMuVmFyaWFibGUDAAAAATYaAABPAQAAAQAAAAAAAAABNxoAAE8BAAAAAAAAAAAAAAE4GgAATwEAAAAAAAAAAAAAATkaAABPAQAAAAAAAAAAAAAPQRkAAAEAAAAIZwAAAAFCGQAAaQAAAAoKAAAAAAAAAAANAAAAAAABQxkAAGkAAAAKCgEAAAAAAAAA/////wABB0QZAAAAAQAAAAQAAAAEHUFwbG9yaXMuQmFzZS5PYmplY3RzLlZhcmlhYmxlAwAAAAE6GgAATwEAAAEAAAAAAAAAATsaAABPAQAAAAAAAAAAAAABPBoAAE8BAAAAAAAAAAAAAAE9GgAATwEAAAAAAAAAAAAAD0UZAAABAAAACEgAAAABRhkAAGkAAAAKCgAAAAAAAAAADQAAAAAAAUcZAABpAAAACgoBAAAAAAAAAP////8AAQdIGQAAAAEAAAAEAAAABB1BcGxvcmlzLkJhc2UuT2JqZWN0cy5WYXJpYWJsZQMAAAABPhoAAE8BAAABAAAAAAAAAAE/GgAATwEAAAAAAAAAAAAAAUAaAABPAQAAAAAAAAAAAAABQRoAAE8BAAAAAAAAAAAAAA9JGQAAAQAAAAhoAAAAAUoZAABpAAAACgoAAAAAAAAAAA0AAAAAAAFLGQAAaQAAAAoKAQAAAAAAAAD/////AAEHTBkAAAABAAAABAAAAAQdQXBsb3Jpcy5CYXNlLk9iamVjdHMuVmFyaWFibGUDAAAAAUIaAABPAQAAAQAAAAAAAAABQxoAAE8BAAAAAAAAAAAAAAFEGgAATwEAAAAAAAAAAAAAAUUaAABPAQAAAAAAAAAAAAAPTRkAAAEAAAAIbgAAAAFOGQAAaQAAAAoKAAAAAAAAAAANAAAAAAABTxkAAGkAAAAKCgEAAAAAAAAA/////wABB1AZAAAAAQAAAAQAAAAEHUFwbG9yaXMuQmFzZS5PYmplY3RzLlZhcmlhYmxlAwAAAAFGGgAATwEAAAEAAAAAAAAAAUcaAABPAQAAAAAAAAAAAAABSBoAAE8BAAAAAAAAAAAAAAFJGgAATwEAAAAAAAAAAAAAD1EZAAABAAAACEYAAAABUhkAAGkAAAAKCgAAAAAAAAAADQAAAAAAAVMZAABpAAAACgoBAAAAAAAAAP////8AAQdUGQAAAAEAAAAEAAAABB1BcGxvcmlzLkJhc2UuT2JqZWN0cy5WYXJpYWJsZQMAAAABShoAAE8BAAABAAAAAAAAAAFLGgAATwEAAAAAAAAAAAAAAUwaAABPAQAAAAAAAAAAAAABTRoAAE8BAAAAAAAAAAAAAA9VGQAAAQAAAAhsAAAAAVYZAABpAAAACgoAAAAAAAAAAA0AAAAAAAFXGQAAaQAAAAoKAQAAAAAAAAD/////AAEHWBkAAAABAAAABAAAAAQdQXBsb3Jpcy5CYXNlLk9iamVjdHMuVmFyaWFibGUDAAAAAU4aAABPAQAAAQAAAAAAAAABTxoAAE8BAAAAAAAAAAAAAAFQGgAATwEAAAAAAAAAAAAAAVEaAABPAQAAAAAAAAAAAAAPWRkAAAEAAAAIbQAAAAFaGQAAaQAAAAoKAAAAAAAAAAANAAAAAAABWxkAAGkAAAAKCgEAAAAAAAAA/////wABB1wZAAAAAQAAAAQAAAAEHUFwbG9yaXMuQmFzZS5PYmplY3RzLlZhcmlhYmxlAwAAAAFSGgAATwEAAAEAAAAAAAAAAVMaAABPAQAAAAAAAAAAAAABVBoAAE8BAAAAAAAAAAAAAAFVGgAATwEAAAAAAAAAAAAAD10ZAAABAAAACEUAAAABXhkAAGkAAAAKCgAAAAAAAAAADQAAAAAAAV8ZAABpAAAACgoBAAAAAAAAAP////8AAQdgGQAAAAEAAAAEAAAABB1BcGxvcmlzLkJhc2UuT2JqZWN0cy5WYXJpYWJsZQMAAAABVhoAAE8BAAABAAAAAAAAAAFXGgAATwEAAAAAAAAAAAAAAVgaAABPAQAAAAAAAAAAAAABWRoAAE8BAAAAAAAAAAAAAA9hGQAAAQAAAAhmAAAAAWIZAABpAAAACgoAAAAAAAAAAA0AAAAAAAFjGQAAaQAAAAoKAQAAAAAAAAD/////AAEHZBkAAAABAAAABAAAAAQdQXBsb3Jpcy5CYXNlLk9iamVjdHMuVmFyaWFibGUDAAAAAVoaAABPAQAAAQAAAAAAAAABWxoAAE8BAAAAAAAAAAAAAAFcGgAATwEAAAAAAAAAAAAAAV0aAABPAQAAAAAAAAAAAAAPZRkAAAEAAAAIQgAAAAFmGQAAaQAAAAoKAAAAAAAAAAANAAAAAAABZxkAAGkAAAAKCgEAAAAAAAAA/////wABB2gZAAAAAQAAAAQAAAAEHUFwbG9yaXMuQmFzZS5PYmplY3RzLlZhcmlhYmxlAwAAAAFeGgAATwEAAAEAAAAAAAAAAV8aAABPAQAAAAAAAAAAAAABYBoAAE8BAAAAAAAAAAAAAAFhGgAATwEAAAAAAAAAAAAAD2kZAAABAAAACEoAAAAL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2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3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3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3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2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2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2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8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4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3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3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4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3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3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2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4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39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38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3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6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6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6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66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6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6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3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69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7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7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7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7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4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4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4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4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4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4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46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47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48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49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6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6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6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6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5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7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48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5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49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4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56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46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58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5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6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5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6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53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5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6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4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47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59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6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8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8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18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8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7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76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77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8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89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9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9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88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TAG" val="MiKt+83em32TeYpP+.91"/>
</p:tagLst>
</file>

<file path=ppt/theme/theme1.xml><?xml version="1.0" encoding="utf-8"?>
<a:theme xmlns:a="http://schemas.openxmlformats.org/drawingml/2006/main" name="Master">
  <a:themeElements>
    <a:clrScheme name="Eigener Maste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F0D48E"/>
      </a:accent1>
      <a:accent2>
        <a:srgbClr val="E7BC4F"/>
      </a:accent2>
      <a:accent3>
        <a:srgbClr val="CE9B1C"/>
      </a:accent3>
      <a:accent4>
        <a:srgbClr val="D9D9D9"/>
      </a:accent4>
      <a:accent5>
        <a:srgbClr val="AEAEAE"/>
      </a:accent5>
      <a:accent6>
        <a:srgbClr val="898989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0239</TotalTime>
  <Words>116</Words>
  <Application>Microsoft Macintosh PowerPoint</Application>
  <PresentationFormat>On-screen Show (4:3)</PresentationFormat>
  <Paragraphs>7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Calibri</vt:lpstr>
      <vt:lpstr>Arial</vt:lpstr>
      <vt:lpstr>Master</vt:lpstr>
      <vt:lpstr>Mekko chart of European election votes for right-wing parties (NY Times data)</vt:lpstr>
    </vt:vector>
  </TitlesOfParts>
  <Company/>
  <LinksUpToDate>false</LinksUpToDate>
  <SharedDoc>false</SharedDoc>
  <HyperlinksChanged>false</HyperlinksChanged>
  <AppVersion>15.002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tik Sundar</dc:creator>
  <cp:lastModifiedBy>Kartik Sundar</cp:lastModifiedBy>
  <cp:revision>780</cp:revision>
  <dcterms:created xsi:type="dcterms:W3CDTF">2013-09-19T20:17:14Z</dcterms:created>
  <dcterms:modified xsi:type="dcterms:W3CDTF">2016-05-25T02:28:30Z</dcterms:modified>
</cp:coreProperties>
</file>